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88" r:id="rId3"/>
    <p:sldMasterId id="2147483700" r:id="rId4"/>
  </p:sldMasterIdLst>
  <p:notesMasterIdLst>
    <p:notesMasterId r:id="rId48"/>
  </p:notesMasterIdLst>
  <p:sldIdLst>
    <p:sldId id="264" r:id="rId5"/>
    <p:sldId id="342" r:id="rId6"/>
    <p:sldId id="343" r:id="rId7"/>
    <p:sldId id="290" r:id="rId8"/>
    <p:sldId id="292" r:id="rId9"/>
    <p:sldId id="293" r:id="rId10"/>
    <p:sldId id="291" r:id="rId11"/>
    <p:sldId id="344" r:id="rId12"/>
    <p:sldId id="356" r:id="rId13"/>
    <p:sldId id="346" r:id="rId14"/>
    <p:sldId id="357" r:id="rId15"/>
    <p:sldId id="358" r:id="rId16"/>
    <p:sldId id="361" r:id="rId17"/>
    <p:sldId id="340" r:id="rId18"/>
    <p:sldId id="359" r:id="rId19"/>
    <p:sldId id="306" r:id="rId20"/>
    <p:sldId id="351" r:id="rId21"/>
    <p:sldId id="307" r:id="rId22"/>
    <p:sldId id="308" r:id="rId23"/>
    <p:sldId id="309" r:id="rId24"/>
    <p:sldId id="297" r:id="rId25"/>
    <p:sldId id="354" r:id="rId26"/>
    <p:sldId id="322" r:id="rId27"/>
    <p:sldId id="324" r:id="rId28"/>
    <p:sldId id="326" r:id="rId29"/>
    <p:sldId id="330" r:id="rId30"/>
    <p:sldId id="295" r:id="rId31"/>
    <p:sldId id="296" r:id="rId32"/>
    <p:sldId id="310" r:id="rId33"/>
    <p:sldId id="311" r:id="rId34"/>
    <p:sldId id="312" r:id="rId35"/>
    <p:sldId id="313" r:id="rId36"/>
    <p:sldId id="314" r:id="rId37"/>
    <p:sldId id="328" r:id="rId38"/>
    <p:sldId id="347" r:id="rId39"/>
    <p:sldId id="294" r:id="rId40"/>
    <p:sldId id="316" r:id="rId41"/>
    <p:sldId id="320" r:id="rId42"/>
    <p:sldId id="325" r:id="rId43"/>
    <p:sldId id="329" r:id="rId44"/>
    <p:sldId id="362" r:id="rId45"/>
    <p:sldId id="332" r:id="rId46"/>
    <p:sldId id="337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00FF"/>
    <a:srgbClr val="00CC00"/>
    <a:srgbClr val="6600CC"/>
    <a:srgbClr val="666699"/>
    <a:srgbClr val="0066CC"/>
    <a:srgbClr val="003399"/>
    <a:srgbClr val="9900CC"/>
    <a:srgbClr val="990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029" autoAdjust="0"/>
    <p:restoredTop sz="94660" autoAdjust="0"/>
  </p:normalViewPr>
  <p:slideViewPr>
    <p:cSldViewPr snapToGrid="0">
      <p:cViewPr varScale="1">
        <p:scale>
          <a:sx n="65" d="100"/>
          <a:sy n="65" d="100"/>
        </p:scale>
        <p:origin x="78" y="53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31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64E4B4-08F4-436E-9A56-D29F5B40BF19}" type="doc">
      <dgm:prSet loTypeId="urn:microsoft.com/office/officeart/2005/8/layout/hChevron3" loCatId="process" qsTypeId="urn:microsoft.com/office/officeart/2005/8/quickstyle/simple3" qsCatId="simple" csTypeId="urn:microsoft.com/office/officeart/2005/8/colors/colorful4" csCatId="colorful" phldr="1"/>
      <dgm:spPr/>
    </dgm:pt>
    <dgm:pt modelId="{6D281D63-2B10-4FBA-96EB-B70365F00119}">
      <dgm:prSet phldrT="[Text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43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84FC4D60-9840-4224-9F36-9FDB307E5A81}" type="parTrans" cxnId="{353E5F64-98C6-475B-9892-5CFD42FC525B}">
      <dgm:prSet/>
      <dgm:spPr/>
      <dgm:t>
        <a:bodyPr/>
        <a:lstStyle/>
        <a:p>
          <a:endParaRPr lang="th-TH" b="1"/>
        </a:p>
      </dgm:t>
    </dgm:pt>
    <dgm:pt modelId="{15D28F07-0DD3-4FEC-9877-89C2DFEAA427}" type="sibTrans" cxnId="{353E5F64-98C6-475B-9892-5CFD42FC525B}">
      <dgm:prSet/>
      <dgm:spPr/>
      <dgm:t>
        <a:bodyPr/>
        <a:lstStyle/>
        <a:p>
          <a:endParaRPr lang="th-TH" b="1"/>
        </a:p>
      </dgm:t>
    </dgm:pt>
    <dgm:pt modelId="{F0E78B8A-0BAE-49A9-9AD2-B74570E42F4B}">
      <dgm:prSet phldrT="[Text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0066CC"/>
        </a:solidFill>
        <a:ln>
          <a:noFill/>
        </a:ln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76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01122200-8D00-427D-BB75-234DDB2EC2CF}" type="parTrans" cxnId="{299E456F-7F22-4CDA-ACE8-14EEAD60F51E}">
      <dgm:prSet/>
      <dgm:spPr/>
      <dgm:t>
        <a:bodyPr/>
        <a:lstStyle/>
        <a:p>
          <a:endParaRPr lang="th-TH" b="1"/>
        </a:p>
      </dgm:t>
    </dgm:pt>
    <dgm:pt modelId="{37F8B080-30FA-409E-A18F-27F3F0D3FCE9}" type="sibTrans" cxnId="{299E456F-7F22-4CDA-ACE8-14EEAD60F51E}">
      <dgm:prSet/>
      <dgm:spPr/>
      <dgm:t>
        <a:bodyPr/>
        <a:lstStyle/>
        <a:p>
          <a:endParaRPr lang="th-TH" b="1"/>
        </a:p>
      </dgm:t>
    </dgm:pt>
    <dgm:pt modelId="{8B97191A-8944-4B15-9075-BDE1F2B24735}">
      <dgm:prSet phldrT="[Text]"/>
      <dgm:spPr>
        <a:solidFill>
          <a:srgbClr val="FF0066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91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998CF9A4-1511-4D59-AC69-49E0FDA66C2A}" type="parTrans" cxnId="{79700A7B-B0DF-410D-BEAA-298D42AAF081}">
      <dgm:prSet/>
      <dgm:spPr/>
      <dgm:t>
        <a:bodyPr/>
        <a:lstStyle/>
        <a:p>
          <a:endParaRPr lang="th-TH" b="1"/>
        </a:p>
      </dgm:t>
    </dgm:pt>
    <dgm:pt modelId="{D744A476-02F4-4308-AD79-1FBFC8E53A85}" type="sibTrans" cxnId="{79700A7B-B0DF-410D-BEAA-298D42AAF081}">
      <dgm:prSet/>
      <dgm:spPr/>
      <dgm:t>
        <a:bodyPr/>
        <a:lstStyle/>
        <a:p>
          <a:endParaRPr lang="th-TH" b="1"/>
        </a:p>
      </dgm:t>
    </dgm:pt>
    <dgm:pt modelId="{3A75E45D-C195-4D64-BC41-C6C7B9B4C1A5}">
      <dgm:prSet phldrT="[Text]"/>
      <dgm:spPr>
        <a:solidFill>
          <a:srgbClr val="990000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97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E57AAAB3-5645-41A7-B906-B23C8E80C3F7}" type="parTrans" cxnId="{CA8700B9-D457-4292-A700-9B2A6C1F7CA2}">
      <dgm:prSet/>
      <dgm:spPr/>
      <dgm:t>
        <a:bodyPr/>
        <a:lstStyle/>
        <a:p>
          <a:endParaRPr lang="th-TH" b="1"/>
        </a:p>
      </dgm:t>
    </dgm:pt>
    <dgm:pt modelId="{E087818D-4883-4C31-9604-9DB905342C55}" type="sibTrans" cxnId="{CA8700B9-D457-4292-A700-9B2A6C1F7CA2}">
      <dgm:prSet/>
      <dgm:spPr/>
      <dgm:t>
        <a:bodyPr/>
        <a:lstStyle/>
        <a:p>
          <a:endParaRPr lang="th-TH" b="1"/>
        </a:p>
      </dgm:t>
    </dgm:pt>
    <dgm:pt modelId="{819BDC6A-7553-4D89-85A4-7303FB934B10}">
      <dgm:prSet phldrT="[Text]"/>
      <dgm:spPr>
        <a:solidFill>
          <a:srgbClr val="FF0066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04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246B49D7-A29C-4C17-BE86-28B03C6BADFD}" type="parTrans" cxnId="{36DC0315-B87D-4236-BA6C-F7D36989A293}">
      <dgm:prSet/>
      <dgm:spPr/>
      <dgm:t>
        <a:bodyPr/>
        <a:lstStyle/>
        <a:p>
          <a:endParaRPr lang="th-TH" b="1"/>
        </a:p>
      </dgm:t>
    </dgm:pt>
    <dgm:pt modelId="{E32DBA7D-2C48-4C53-A4A3-CE0DD22C213D}" type="sibTrans" cxnId="{36DC0315-B87D-4236-BA6C-F7D36989A293}">
      <dgm:prSet/>
      <dgm:spPr/>
      <dgm:t>
        <a:bodyPr/>
        <a:lstStyle/>
        <a:p>
          <a:endParaRPr lang="th-TH" b="1"/>
        </a:p>
      </dgm:t>
    </dgm:pt>
    <dgm:pt modelId="{BA69ECF7-542B-421C-B13C-907823CBAD11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19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77DE885E-A145-4AAE-8201-D1AF0867F804}" type="parTrans" cxnId="{6E6375F2-9B9C-4977-80BC-F2AE933E3E29}">
      <dgm:prSet/>
      <dgm:spPr/>
      <dgm:t>
        <a:bodyPr/>
        <a:lstStyle/>
        <a:p>
          <a:endParaRPr lang="th-TH" b="1"/>
        </a:p>
      </dgm:t>
    </dgm:pt>
    <dgm:pt modelId="{502A4DE0-1089-471E-9313-103C1D360ABA}" type="sibTrans" cxnId="{6E6375F2-9B9C-4977-80BC-F2AE933E3E29}">
      <dgm:prSet/>
      <dgm:spPr/>
      <dgm:t>
        <a:bodyPr/>
        <a:lstStyle/>
        <a:p>
          <a:endParaRPr lang="th-TH" b="1"/>
        </a:p>
      </dgm:t>
    </dgm:pt>
    <dgm:pt modelId="{1F881E07-2D0C-4ADB-B163-7092ED057D35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20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A254C9F4-0B71-411B-8A92-3F5ECF83F3D7}" type="parTrans" cxnId="{B955CFB9-1ECC-431A-B646-1CAD30572F57}">
      <dgm:prSet/>
      <dgm:spPr/>
      <dgm:t>
        <a:bodyPr/>
        <a:lstStyle/>
        <a:p>
          <a:endParaRPr lang="th-TH" b="1"/>
        </a:p>
      </dgm:t>
    </dgm:pt>
    <dgm:pt modelId="{4B656849-103E-4543-AC73-263963899796}" type="sibTrans" cxnId="{B955CFB9-1ECC-431A-B646-1CAD30572F57}">
      <dgm:prSet/>
      <dgm:spPr/>
      <dgm:t>
        <a:bodyPr/>
        <a:lstStyle/>
        <a:p>
          <a:endParaRPr lang="th-TH" b="1"/>
        </a:p>
      </dgm:t>
    </dgm:pt>
    <dgm:pt modelId="{0877AC0E-94B1-47EC-9BA5-8DEC44895243}">
      <dgm:prSet phldrT="[Text]"/>
      <dgm:spPr>
        <a:solidFill>
          <a:srgbClr val="FFFF00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31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E817FB5B-B63D-45F9-AEA8-B51CD37F4A78}" type="parTrans" cxnId="{2BBFBD9F-D2A3-4A6F-AE54-42B8EC6B272B}">
      <dgm:prSet/>
      <dgm:spPr/>
      <dgm:t>
        <a:bodyPr/>
        <a:lstStyle/>
        <a:p>
          <a:endParaRPr lang="th-TH" b="1"/>
        </a:p>
      </dgm:t>
    </dgm:pt>
    <dgm:pt modelId="{2E4AB013-518E-46C8-B613-D01A6A89A581}" type="sibTrans" cxnId="{2BBFBD9F-D2A3-4A6F-AE54-42B8EC6B272B}">
      <dgm:prSet/>
      <dgm:spPr/>
      <dgm:t>
        <a:bodyPr/>
        <a:lstStyle/>
        <a:p>
          <a:endParaRPr lang="th-TH" b="1"/>
        </a:p>
      </dgm:t>
    </dgm:pt>
    <dgm:pt modelId="{E42993F9-2BD2-43CD-89A7-BB2393772A83}">
      <dgm:prSet phldrT="[Text]"/>
      <dgm:spPr>
        <a:solidFill>
          <a:srgbClr val="CC99FF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48 - ปัจจุบัน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A32D0E58-17D5-4F84-BCF0-5A1A31D4ED2F}" type="parTrans" cxnId="{EBF89CA8-E199-4E72-B1F0-47A201933302}">
      <dgm:prSet/>
      <dgm:spPr/>
      <dgm:t>
        <a:bodyPr/>
        <a:lstStyle/>
        <a:p>
          <a:endParaRPr lang="th-TH"/>
        </a:p>
      </dgm:t>
    </dgm:pt>
    <dgm:pt modelId="{D4257236-C5D0-4474-A28E-0AAFC3C59BB4}" type="sibTrans" cxnId="{EBF89CA8-E199-4E72-B1F0-47A201933302}">
      <dgm:prSet/>
      <dgm:spPr/>
      <dgm:t>
        <a:bodyPr/>
        <a:lstStyle/>
        <a:p>
          <a:endParaRPr lang="th-TH"/>
        </a:p>
      </dgm:t>
    </dgm:pt>
    <dgm:pt modelId="{A2C7C7A2-B036-4094-8A21-A1A58F737E49}">
      <dgm:prSet phldrT="[Text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FF33CC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81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27C729E6-9D0F-4004-BE74-908AAA1E27A6}" type="parTrans" cxnId="{165F5027-A08F-47CC-845A-B7A67D5C7C01}">
      <dgm:prSet/>
      <dgm:spPr/>
      <dgm:t>
        <a:bodyPr/>
        <a:lstStyle/>
        <a:p>
          <a:endParaRPr lang="th-TH"/>
        </a:p>
      </dgm:t>
    </dgm:pt>
    <dgm:pt modelId="{F305CCB7-12AF-4CB2-B585-B93B75D3DAAC}" type="sibTrans" cxnId="{165F5027-A08F-47CC-845A-B7A67D5C7C01}">
      <dgm:prSet/>
      <dgm:spPr/>
      <dgm:t>
        <a:bodyPr/>
        <a:lstStyle/>
        <a:p>
          <a:endParaRPr lang="th-TH"/>
        </a:p>
      </dgm:t>
    </dgm:pt>
    <dgm:pt modelId="{9031C631-924A-445C-B00F-72C1AEA25BA5}" type="pres">
      <dgm:prSet presAssocID="{9164E4B4-08F4-436E-9A56-D29F5B40BF19}" presName="Name0" presStyleCnt="0">
        <dgm:presLayoutVars>
          <dgm:dir/>
          <dgm:resizeHandles val="exact"/>
        </dgm:presLayoutVars>
      </dgm:prSet>
      <dgm:spPr/>
    </dgm:pt>
    <dgm:pt modelId="{2736672C-BAF9-4CEE-8EA4-54AEA7BB8DC3}" type="pres">
      <dgm:prSet presAssocID="{6D281D63-2B10-4FBA-96EB-B70365F00119}" presName="parTxOnly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AEB90B8A-467A-4058-8E66-ABDF0EEC18C3}" type="pres">
      <dgm:prSet presAssocID="{15D28F07-0DD3-4FEC-9877-89C2DFEAA427}" presName="parSpace" presStyleCnt="0"/>
      <dgm:spPr/>
    </dgm:pt>
    <dgm:pt modelId="{2F6E1054-9C28-4089-9651-AB9160BBA999}" type="pres">
      <dgm:prSet presAssocID="{F0E78B8A-0BAE-49A9-9AD2-B74570E42F4B}" presName="parTxOnly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03B51CC7-C178-4F1C-AA31-7065BA23C00C}" type="pres">
      <dgm:prSet presAssocID="{37F8B080-30FA-409E-A18F-27F3F0D3FCE9}" presName="parSpace" presStyleCnt="0"/>
      <dgm:spPr/>
    </dgm:pt>
    <dgm:pt modelId="{A25A211E-D384-4AD8-B3AC-3B210A753A52}" type="pres">
      <dgm:prSet presAssocID="{A2C7C7A2-B036-4094-8A21-A1A58F737E49}" presName="parTxOnly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14E9909F-B78F-42A5-9A22-3244407C9095}" type="pres">
      <dgm:prSet presAssocID="{F305CCB7-12AF-4CB2-B585-B93B75D3DAAC}" presName="parSpace" presStyleCnt="0"/>
      <dgm:spPr/>
    </dgm:pt>
    <dgm:pt modelId="{B6AFD19C-C362-47FD-8D6D-DFBE8CA42308}" type="pres">
      <dgm:prSet presAssocID="{8B97191A-8944-4B15-9075-BDE1F2B24735}" presName="parTxOnly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F50E4DB4-C9ED-4397-B34E-00070730DF46}" type="pres">
      <dgm:prSet presAssocID="{D744A476-02F4-4308-AD79-1FBFC8E53A85}" presName="parSpace" presStyleCnt="0"/>
      <dgm:spPr/>
    </dgm:pt>
    <dgm:pt modelId="{C2FDA7C6-396E-44E3-830F-DB64322ADAE9}" type="pres">
      <dgm:prSet presAssocID="{3A75E45D-C195-4D64-BC41-C6C7B9B4C1A5}" presName="parTxOnly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12B18A94-1D96-4A93-8340-E8150E217604}" type="pres">
      <dgm:prSet presAssocID="{E087818D-4883-4C31-9604-9DB905342C55}" presName="parSpace" presStyleCnt="0"/>
      <dgm:spPr/>
    </dgm:pt>
    <dgm:pt modelId="{9F1FEFC1-8BAD-4A32-9A61-8E3D277506FF}" type="pres">
      <dgm:prSet presAssocID="{819BDC6A-7553-4D89-85A4-7303FB934B10}" presName="parTxOnly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3045A7B2-F36C-4627-9FAA-EB7D7E8DD051}" type="pres">
      <dgm:prSet presAssocID="{E32DBA7D-2C48-4C53-A4A3-CE0DD22C213D}" presName="parSpace" presStyleCnt="0"/>
      <dgm:spPr/>
    </dgm:pt>
    <dgm:pt modelId="{67F9B46A-4EB6-4929-A899-EB6D61497CA8}" type="pres">
      <dgm:prSet presAssocID="{BA69ECF7-542B-421C-B13C-907823CBAD11}" presName="parTxOnly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2D432245-C0A1-40C2-8B77-AC8969D131E3}" type="pres">
      <dgm:prSet presAssocID="{502A4DE0-1089-471E-9313-103C1D360ABA}" presName="parSpace" presStyleCnt="0"/>
      <dgm:spPr/>
    </dgm:pt>
    <dgm:pt modelId="{AB8896E2-506F-457F-84AC-A4B522BE7E30}" type="pres">
      <dgm:prSet presAssocID="{1F881E07-2D0C-4ADB-B163-7092ED057D35}" presName="parTxOnly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6055BDA2-2EF6-42EF-93F9-6B63724340D5}" type="pres">
      <dgm:prSet presAssocID="{4B656849-103E-4543-AC73-263963899796}" presName="parSpace" presStyleCnt="0"/>
      <dgm:spPr/>
    </dgm:pt>
    <dgm:pt modelId="{B3F3B12B-25AF-4B91-A268-FDF730DCE9BA}" type="pres">
      <dgm:prSet presAssocID="{0877AC0E-94B1-47EC-9BA5-8DEC44895243}" presName="parTxOnly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FEA218B8-B918-40C9-AECD-47C20292EE4A}" type="pres">
      <dgm:prSet presAssocID="{2E4AB013-518E-46C8-B613-D01A6A89A581}" presName="parSpace" presStyleCnt="0"/>
      <dgm:spPr/>
    </dgm:pt>
    <dgm:pt modelId="{8BB60371-D87E-4F9E-88E2-8FF580F5435F}" type="pres">
      <dgm:prSet presAssocID="{E42993F9-2BD2-43CD-89A7-BB2393772A83}" presName="parTxOnly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</dgm:ptLst>
  <dgm:cxnLst>
    <dgm:cxn modelId="{EBF89CA8-E199-4E72-B1F0-47A201933302}" srcId="{9164E4B4-08F4-436E-9A56-D29F5B40BF19}" destId="{E42993F9-2BD2-43CD-89A7-BB2393772A83}" srcOrd="9" destOrd="0" parTransId="{A32D0E58-17D5-4F84-BCF0-5A1A31D4ED2F}" sibTransId="{D4257236-C5D0-4474-A28E-0AAFC3C59BB4}"/>
    <dgm:cxn modelId="{09521BE6-7484-43BD-A607-529874357688}" type="presOf" srcId="{6D281D63-2B10-4FBA-96EB-B70365F00119}" destId="{2736672C-BAF9-4CEE-8EA4-54AEA7BB8DC3}" srcOrd="0" destOrd="0" presId="urn:microsoft.com/office/officeart/2005/8/layout/hChevron3"/>
    <dgm:cxn modelId="{F9D7CACD-B254-4C1B-A5C7-F7E0F0FA17C9}" type="presOf" srcId="{0877AC0E-94B1-47EC-9BA5-8DEC44895243}" destId="{B3F3B12B-25AF-4B91-A268-FDF730DCE9BA}" srcOrd="0" destOrd="0" presId="urn:microsoft.com/office/officeart/2005/8/layout/hChevron3"/>
    <dgm:cxn modelId="{880D3399-270A-4E43-B322-779D491307A5}" type="presOf" srcId="{8B97191A-8944-4B15-9075-BDE1F2B24735}" destId="{B6AFD19C-C362-47FD-8D6D-DFBE8CA42308}" srcOrd="0" destOrd="0" presId="urn:microsoft.com/office/officeart/2005/8/layout/hChevron3"/>
    <dgm:cxn modelId="{B955CFB9-1ECC-431A-B646-1CAD30572F57}" srcId="{9164E4B4-08F4-436E-9A56-D29F5B40BF19}" destId="{1F881E07-2D0C-4ADB-B163-7092ED057D35}" srcOrd="7" destOrd="0" parTransId="{A254C9F4-0B71-411B-8A92-3F5ECF83F3D7}" sibTransId="{4B656849-103E-4543-AC73-263963899796}"/>
    <dgm:cxn modelId="{AD946EF6-D131-4628-ACB1-1BDB3F89AEB3}" type="presOf" srcId="{3A75E45D-C195-4D64-BC41-C6C7B9B4C1A5}" destId="{C2FDA7C6-396E-44E3-830F-DB64322ADAE9}" srcOrd="0" destOrd="0" presId="urn:microsoft.com/office/officeart/2005/8/layout/hChevron3"/>
    <dgm:cxn modelId="{6BDAB968-C4F2-48E0-BE3A-6E970484D38D}" type="presOf" srcId="{BA69ECF7-542B-421C-B13C-907823CBAD11}" destId="{67F9B46A-4EB6-4929-A899-EB6D61497CA8}" srcOrd="0" destOrd="0" presId="urn:microsoft.com/office/officeart/2005/8/layout/hChevron3"/>
    <dgm:cxn modelId="{CA8700B9-D457-4292-A700-9B2A6C1F7CA2}" srcId="{9164E4B4-08F4-436E-9A56-D29F5B40BF19}" destId="{3A75E45D-C195-4D64-BC41-C6C7B9B4C1A5}" srcOrd="4" destOrd="0" parTransId="{E57AAAB3-5645-41A7-B906-B23C8E80C3F7}" sibTransId="{E087818D-4883-4C31-9604-9DB905342C55}"/>
    <dgm:cxn modelId="{79700A7B-B0DF-410D-BEAA-298D42AAF081}" srcId="{9164E4B4-08F4-436E-9A56-D29F5B40BF19}" destId="{8B97191A-8944-4B15-9075-BDE1F2B24735}" srcOrd="3" destOrd="0" parTransId="{998CF9A4-1511-4D59-AC69-49E0FDA66C2A}" sibTransId="{D744A476-02F4-4308-AD79-1FBFC8E53A85}"/>
    <dgm:cxn modelId="{4C3D25EF-A605-43A0-97FA-7A0D5F29D738}" type="presOf" srcId="{A2C7C7A2-B036-4094-8A21-A1A58F737E49}" destId="{A25A211E-D384-4AD8-B3AC-3B210A753A52}" srcOrd="0" destOrd="0" presId="urn:microsoft.com/office/officeart/2005/8/layout/hChevron3"/>
    <dgm:cxn modelId="{299E456F-7F22-4CDA-ACE8-14EEAD60F51E}" srcId="{9164E4B4-08F4-436E-9A56-D29F5B40BF19}" destId="{F0E78B8A-0BAE-49A9-9AD2-B74570E42F4B}" srcOrd="1" destOrd="0" parTransId="{01122200-8D00-427D-BB75-234DDB2EC2CF}" sibTransId="{37F8B080-30FA-409E-A18F-27F3F0D3FCE9}"/>
    <dgm:cxn modelId="{699D4067-56C5-4A9F-9E23-8A69A538C0E3}" type="presOf" srcId="{819BDC6A-7553-4D89-85A4-7303FB934B10}" destId="{9F1FEFC1-8BAD-4A32-9A61-8E3D277506FF}" srcOrd="0" destOrd="0" presId="urn:microsoft.com/office/officeart/2005/8/layout/hChevron3"/>
    <dgm:cxn modelId="{9D0360A8-3F4C-44C3-BBDF-49CBBB7DD4D0}" type="presOf" srcId="{F0E78B8A-0BAE-49A9-9AD2-B74570E42F4B}" destId="{2F6E1054-9C28-4089-9651-AB9160BBA999}" srcOrd="0" destOrd="0" presId="urn:microsoft.com/office/officeart/2005/8/layout/hChevron3"/>
    <dgm:cxn modelId="{79EC87BD-98F4-4219-88DC-EB72E5E89DE8}" type="presOf" srcId="{9164E4B4-08F4-436E-9A56-D29F5B40BF19}" destId="{9031C631-924A-445C-B00F-72C1AEA25BA5}" srcOrd="0" destOrd="0" presId="urn:microsoft.com/office/officeart/2005/8/layout/hChevron3"/>
    <dgm:cxn modelId="{2BBFBD9F-D2A3-4A6F-AE54-42B8EC6B272B}" srcId="{9164E4B4-08F4-436E-9A56-D29F5B40BF19}" destId="{0877AC0E-94B1-47EC-9BA5-8DEC44895243}" srcOrd="8" destOrd="0" parTransId="{E817FB5B-B63D-45F9-AEA8-B51CD37F4A78}" sibTransId="{2E4AB013-518E-46C8-B613-D01A6A89A581}"/>
    <dgm:cxn modelId="{36DC0315-B87D-4236-BA6C-F7D36989A293}" srcId="{9164E4B4-08F4-436E-9A56-D29F5B40BF19}" destId="{819BDC6A-7553-4D89-85A4-7303FB934B10}" srcOrd="5" destOrd="0" parTransId="{246B49D7-A29C-4C17-BE86-28B03C6BADFD}" sibTransId="{E32DBA7D-2C48-4C53-A4A3-CE0DD22C213D}"/>
    <dgm:cxn modelId="{9C1AB1F2-0150-4B97-BD65-DF45A5065A7E}" type="presOf" srcId="{E42993F9-2BD2-43CD-89A7-BB2393772A83}" destId="{8BB60371-D87E-4F9E-88E2-8FF580F5435F}" srcOrd="0" destOrd="0" presId="urn:microsoft.com/office/officeart/2005/8/layout/hChevron3"/>
    <dgm:cxn modelId="{353E5F64-98C6-475B-9892-5CFD42FC525B}" srcId="{9164E4B4-08F4-436E-9A56-D29F5B40BF19}" destId="{6D281D63-2B10-4FBA-96EB-B70365F00119}" srcOrd="0" destOrd="0" parTransId="{84FC4D60-9840-4224-9F36-9FDB307E5A81}" sibTransId="{15D28F07-0DD3-4FEC-9877-89C2DFEAA427}"/>
    <dgm:cxn modelId="{93FA524E-FE26-4A19-B832-F396432AB1E3}" type="presOf" srcId="{1F881E07-2D0C-4ADB-B163-7092ED057D35}" destId="{AB8896E2-506F-457F-84AC-A4B522BE7E30}" srcOrd="0" destOrd="0" presId="urn:microsoft.com/office/officeart/2005/8/layout/hChevron3"/>
    <dgm:cxn modelId="{6E6375F2-9B9C-4977-80BC-F2AE933E3E29}" srcId="{9164E4B4-08F4-436E-9A56-D29F5B40BF19}" destId="{BA69ECF7-542B-421C-B13C-907823CBAD11}" srcOrd="6" destOrd="0" parTransId="{77DE885E-A145-4AAE-8201-D1AF0867F804}" sibTransId="{502A4DE0-1089-471E-9313-103C1D360ABA}"/>
    <dgm:cxn modelId="{165F5027-A08F-47CC-845A-B7A67D5C7C01}" srcId="{9164E4B4-08F4-436E-9A56-D29F5B40BF19}" destId="{A2C7C7A2-B036-4094-8A21-A1A58F737E49}" srcOrd="2" destOrd="0" parTransId="{27C729E6-9D0F-4004-BE74-908AAA1E27A6}" sibTransId="{F305CCB7-12AF-4CB2-B585-B93B75D3DAAC}"/>
    <dgm:cxn modelId="{801CA972-1CC3-48D4-B6F4-A920AF3E3715}" type="presParOf" srcId="{9031C631-924A-445C-B00F-72C1AEA25BA5}" destId="{2736672C-BAF9-4CEE-8EA4-54AEA7BB8DC3}" srcOrd="0" destOrd="0" presId="urn:microsoft.com/office/officeart/2005/8/layout/hChevron3"/>
    <dgm:cxn modelId="{2976DA5F-E65B-400B-9CE6-44A86731A406}" type="presParOf" srcId="{9031C631-924A-445C-B00F-72C1AEA25BA5}" destId="{AEB90B8A-467A-4058-8E66-ABDF0EEC18C3}" srcOrd="1" destOrd="0" presId="urn:microsoft.com/office/officeart/2005/8/layout/hChevron3"/>
    <dgm:cxn modelId="{47C9C0FB-5F0C-4DD9-8FDF-E66F0DA44FD0}" type="presParOf" srcId="{9031C631-924A-445C-B00F-72C1AEA25BA5}" destId="{2F6E1054-9C28-4089-9651-AB9160BBA999}" srcOrd="2" destOrd="0" presId="urn:microsoft.com/office/officeart/2005/8/layout/hChevron3"/>
    <dgm:cxn modelId="{42979158-1F47-41ED-A039-F0EC9014EDA3}" type="presParOf" srcId="{9031C631-924A-445C-B00F-72C1AEA25BA5}" destId="{03B51CC7-C178-4F1C-AA31-7065BA23C00C}" srcOrd="3" destOrd="0" presId="urn:microsoft.com/office/officeart/2005/8/layout/hChevron3"/>
    <dgm:cxn modelId="{E7AC931E-F288-4C75-B72B-EDEF7C1F6900}" type="presParOf" srcId="{9031C631-924A-445C-B00F-72C1AEA25BA5}" destId="{A25A211E-D384-4AD8-B3AC-3B210A753A52}" srcOrd="4" destOrd="0" presId="urn:microsoft.com/office/officeart/2005/8/layout/hChevron3"/>
    <dgm:cxn modelId="{819F48C1-AA8F-4B13-B8A5-1693CA354275}" type="presParOf" srcId="{9031C631-924A-445C-B00F-72C1AEA25BA5}" destId="{14E9909F-B78F-42A5-9A22-3244407C9095}" srcOrd="5" destOrd="0" presId="urn:microsoft.com/office/officeart/2005/8/layout/hChevron3"/>
    <dgm:cxn modelId="{C16A3D87-C57D-42EB-B565-774B0D781E3F}" type="presParOf" srcId="{9031C631-924A-445C-B00F-72C1AEA25BA5}" destId="{B6AFD19C-C362-47FD-8D6D-DFBE8CA42308}" srcOrd="6" destOrd="0" presId="urn:microsoft.com/office/officeart/2005/8/layout/hChevron3"/>
    <dgm:cxn modelId="{032A1F1B-5163-4F54-AA7A-8B623AABAFF2}" type="presParOf" srcId="{9031C631-924A-445C-B00F-72C1AEA25BA5}" destId="{F50E4DB4-C9ED-4397-B34E-00070730DF46}" srcOrd="7" destOrd="0" presId="urn:microsoft.com/office/officeart/2005/8/layout/hChevron3"/>
    <dgm:cxn modelId="{5DBCD328-2C1D-473C-B5C7-11A1838F6A15}" type="presParOf" srcId="{9031C631-924A-445C-B00F-72C1AEA25BA5}" destId="{C2FDA7C6-396E-44E3-830F-DB64322ADAE9}" srcOrd="8" destOrd="0" presId="urn:microsoft.com/office/officeart/2005/8/layout/hChevron3"/>
    <dgm:cxn modelId="{3FD80D4A-BC84-45B6-B523-2591D0C7AE27}" type="presParOf" srcId="{9031C631-924A-445C-B00F-72C1AEA25BA5}" destId="{12B18A94-1D96-4A93-8340-E8150E217604}" srcOrd="9" destOrd="0" presId="urn:microsoft.com/office/officeart/2005/8/layout/hChevron3"/>
    <dgm:cxn modelId="{F98588CD-0587-4414-A2C8-DDBD48E570DB}" type="presParOf" srcId="{9031C631-924A-445C-B00F-72C1AEA25BA5}" destId="{9F1FEFC1-8BAD-4A32-9A61-8E3D277506FF}" srcOrd="10" destOrd="0" presId="urn:microsoft.com/office/officeart/2005/8/layout/hChevron3"/>
    <dgm:cxn modelId="{1FC4A1B0-0DBC-4316-86D0-0E54739285B5}" type="presParOf" srcId="{9031C631-924A-445C-B00F-72C1AEA25BA5}" destId="{3045A7B2-F36C-4627-9FAA-EB7D7E8DD051}" srcOrd="11" destOrd="0" presId="urn:microsoft.com/office/officeart/2005/8/layout/hChevron3"/>
    <dgm:cxn modelId="{9F2A79A0-82AC-414C-A6AE-C426A76F81F5}" type="presParOf" srcId="{9031C631-924A-445C-B00F-72C1AEA25BA5}" destId="{67F9B46A-4EB6-4929-A899-EB6D61497CA8}" srcOrd="12" destOrd="0" presId="urn:microsoft.com/office/officeart/2005/8/layout/hChevron3"/>
    <dgm:cxn modelId="{0898BF41-F313-4498-9976-296189884F77}" type="presParOf" srcId="{9031C631-924A-445C-B00F-72C1AEA25BA5}" destId="{2D432245-C0A1-40C2-8B77-AC8969D131E3}" srcOrd="13" destOrd="0" presId="urn:microsoft.com/office/officeart/2005/8/layout/hChevron3"/>
    <dgm:cxn modelId="{9F94D654-4A80-4B61-9B29-560DD623C49B}" type="presParOf" srcId="{9031C631-924A-445C-B00F-72C1AEA25BA5}" destId="{AB8896E2-506F-457F-84AC-A4B522BE7E30}" srcOrd="14" destOrd="0" presId="urn:microsoft.com/office/officeart/2005/8/layout/hChevron3"/>
    <dgm:cxn modelId="{DAABAF09-CBAB-48FB-A97C-A914BC7C67BB}" type="presParOf" srcId="{9031C631-924A-445C-B00F-72C1AEA25BA5}" destId="{6055BDA2-2EF6-42EF-93F9-6B63724340D5}" srcOrd="15" destOrd="0" presId="urn:microsoft.com/office/officeart/2005/8/layout/hChevron3"/>
    <dgm:cxn modelId="{CE3F9F4D-5AFE-4509-8B4B-BB01C75B2844}" type="presParOf" srcId="{9031C631-924A-445C-B00F-72C1AEA25BA5}" destId="{B3F3B12B-25AF-4B91-A268-FDF730DCE9BA}" srcOrd="16" destOrd="0" presId="urn:microsoft.com/office/officeart/2005/8/layout/hChevron3"/>
    <dgm:cxn modelId="{7AFA4C31-A3AD-4337-BCCD-418214EC5664}" type="presParOf" srcId="{9031C631-924A-445C-B00F-72C1AEA25BA5}" destId="{FEA218B8-B918-40C9-AECD-47C20292EE4A}" srcOrd="17" destOrd="0" presId="urn:microsoft.com/office/officeart/2005/8/layout/hChevron3"/>
    <dgm:cxn modelId="{40969EC1-D720-44C8-B07E-BCC517E4F255}" type="presParOf" srcId="{9031C631-924A-445C-B00F-72C1AEA25BA5}" destId="{8BB60371-D87E-4F9E-88E2-8FF580F5435F}" srcOrd="1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36672C-BAF9-4CEE-8EA4-54AEA7BB8DC3}">
      <dsp:nvSpPr>
        <dsp:cNvPr id="0" name=""/>
        <dsp:cNvSpPr/>
      </dsp:nvSpPr>
      <dsp:spPr>
        <a:xfrm>
          <a:off x="136" y="1030936"/>
          <a:ext cx="1360415" cy="544166"/>
        </a:xfrm>
        <a:prstGeom prst="homePlate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43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136" y="1030936"/>
        <a:ext cx="1224374" cy="544166"/>
      </dsp:txXfrm>
    </dsp:sp>
    <dsp:sp modelId="{2F6E1054-9C28-4089-9651-AB9160BBA999}">
      <dsp:nvSpPr>
        <dsp:cNvPr id="0" name=""/>
        <dsp:cNvSpPr/>
      </dsp:nvSpPr>
      <dsp:spPr>
        <a:xfrm>
          <a:off x="1088468" y="1030936"/>
          <a:ext cx="1360415" cy="544166"/>
        </a:xfrm>
        <a:prstGeom prst="chevron">
          <a:avLst/>
        </a:prstGeom>
        <a:solidFill>
          <a:srgbClr val="0066CC"/>
        </a:solidFill>
        <a:ln w="9525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76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1360551" y="1030936"/>
        <a:ext cx="816249" cy="544166"/>
      </dsp:txXfrm>
    </dsp:sp>
    <dsp:sp modelId="{A25A211E-D384-4AD8-B3AC-3B210A753A52}">
      <dsp:nvSpPr>
        <dsp:cNvPr id="0" name=""/>
        <dsp:cNvSpPr/>
      </dsp:nvSpPr>
      <dsp:spPr>
        <a:xfrm>
          <a:off x="2176801" y="1030936"/>
          <a:ext cx="1360415" cy="544166"/>
        </a:xfrm>
        <a:prstGeom prst="chevron">
          <a:avLst/>
        </a:prstGeom>
        <a:solidFill>
          <a:srgbClr val="FF33CC"/>
        </a:soli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81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2448884" y="1030936"/>
        <a:ext cx="816249" cy="544166"/>
      </dsp:txXfrm>
    </dsp:sp>
    <dsp:sp modelId="{B6AFD19C-C362-47FD-8D6D-DFBE8CA42308}">
      <dsp:nvSpPr>
        <dsp:cNvPr id="0" name=""/>
        <dsp:cNvSpPr/>
      </dsp:nvSpPr>
      <dsp:spPr>
        <a:xfrm>
          <a:off x="3265133" y="1030936"/>
          <a:ext cx="1360415" cy="544166"/>
        </a:xfrm>
        <a:prstGeom prst="chevron">
          <a:avLst/>
        </a:prstGeom>
        <a:solidFill>
          <a:srgbClr val="FF0066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91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3537216" y="1030936"/>
        <a:ext cx="816249" cy="544166"/>
      </dsp:txXfrm>
    </dsp:sp>
    <dsp:sp modelId="{C2FDA7C6-396E-44E3-830F-DB64322ADAE9}">
      <dsp:nvSpPr>
        <dsp:cNvPr id="0" name=""/>
        <dsp:cNvSpPr/>
      </dsp:nvSpPr>
      <dsp:spPr>
        <a:xfrm>
          <a:off x="4353465" y="1030936"/>
          <a:ext cx="1360415" cy="544166"/>
        </a:xfrm>
        <a:prstGeom prst="chevron">
          <a:avLst/>
        </a:prstGeom>
        <a:solidFill>
          <a:srgbClr val="9900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97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4625548" y="1030936"/>
        <a:ext cx="816249" cy="544166"/>
      </dsp:txXfrm>
    </dsp:sp>
    <dsp:sp modelId="{9F1FEFC1-8BAD-4A32-9A61-8E3D277506FF}">
      <dsp:nvSpPr>
        <dsp:cNvPr id="0" name=""/>
        <dsp:cNvSpPr/>
      </dsp:nvSpPr>
      <dsp:spPr>
        <a:xfrm>
          <a:off x="5441798" y="1030936"/>
          <a:ext cx="1360415" cy="544166"/>
        </a:xfrm>
        <a:prstGeom prst="chevron">
          <a:avLst/>
        </a:prstGeom>
        <a:solidFill>
          <a:srgbClr val="FF0066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04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5713881" y="1030936"/>
        <a:ext cx="816249" cy="544166"/>
      </dsp:txXfrm>
    </dsp:sp>
    <dsp:sp modelId="{67F9B46A-4EB6-4929-A899-EB6D61497CA8}">
      <dsp:nvSpPr>
        <dsp:cNvPr id="0" name=""/>
        <dsp:cNvSpPr/>
      </dsp:nvSpPr>
      <dsp:spPr>
        <a:xfrm>
          <a:off x="6530130" y="1030936"/>
          <a:ext cx="1360415" cy="544166"/>
        </a:xfrm>
        <a:prstGeom prst="chevron">
          <a:avLst/>
        </a:prstGeom>
        <a:gradFill rotWithShape="1">
          <a:gsLst>
            <a:gs pos="0">
              <a:schemeClr val="dk1">
                <a:tint val="50000"/>
                <a:satMod val="300000"/>
              </a:schemeClr>
            </a:gs>
            <a:gs pos="35000">
              <a:schemeClr val="dk1">
                <a:tint val="37000"/>
                <a:satMod val="300000"/>
              </a:schemeClr>
            </a:gs>
            <a:gs pos="100000">
              <a:schemeClr val="dk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19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6802213" y="1030936"/>
        <a:ext cx="816249" cy="544166"/>
      </dsp:txXfrm>
    </dsp:sp>
    <dsp:sp modelId="{AB8896E2-506F-457F-84AC-A4B522BE7E30}">
      <dsp:nvSpPr>
        <dsp:cNvPr id="0" name=""/>
        <dsp:cNvSpPr/>
      </dsp:nvSpPr>
      <dsp:spPr>
        <a:xfrm>
          <a:off x="7618463" y="1030936"/>
          <a:ext cx="1360415" cy="544166"/>
        </a:xfrm>
        <a:prstGeom prst="chevron">
          <a:avLst/>
        </a:prstGeom>
        <a:gradFill rotWithShape="1">
          <a:gsLst>
            <a:gs pos="0">
              <a:schemeClr val="dk1">
                <a:tint val="50000"/>
                <a:satMod val="300000"/>
              </a:schemeClr>
            </a:gs>
            <a:gs pos="35000">
              <a:schemeClr val="dk1">
                <a:tint val="37000"/>
                <a:satMod val="300000"/>
              </a:schemeClr>
            </a:gs>
            <a:gs pos="100000">
              <a:schemeClr val="dk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20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7890546" y="1030936"/>
        <a:ext cx="816249" cy="544166"/>
      </dsp:txXfrm>
    </dsp:sp>
    <dsp:sp modelId="{B3F3B12B-25AF-4B91-A268-FDF730DCE9BA}">
      <dsp:nvSpPr>
        <dsp:cNvPr id="0" name=""/>
        <dsp:cNvSpPr/>
      </dsp:nvSpPr>
      <dsp:spPr>
        <a:xfrm>
          <a:off x="8706795" y="1030936"/>
          <a:ext cx="1360415" cy="544166"/>
        </a:xfrm>
        <a:prstGeom prst="chevron">
          <a:avLst/>
        </a:prstGeom>
        <a:solidFill>
          <a:srgbClr val="FFFF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31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8978878" y="1030936"/>
        <a:ext cx="816249" cy="544166"/>
      </dsp:txXfrm>
    </dsp:sp>
    <dsp:sp modelId="{8BB60371-D87E-4F9E-88E2-8FF580F5435F}">
      <dsp:nvSpPr>
        <dsp:cNvPr id="0" name=""/>
        <dsp:cNvSpPr/>
      </dsp:nvSpPr>
      <dsp:spPr>
        <a:xfrm>
          <a:off x="9795128" y="1030936"/>
          <a:ext cx="1360415" cy="544166"/>
        </a:xfrm>
        <a:prstGeom prst="chevron">
          <a:avLst/>
        </a:prstGeom>
        <a:solidFill>
          <a:srgbClr val="CC99F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48 - ปัจจุบัน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10067211" y="1030936"/>
        <a:ext cx="816249" cy="5441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EFBB93-4673-4120-9A17-5161D10D597A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79F861-7556-47B3-A76E-5EDCFF02B7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58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00355" name="Rectangle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41209" indent="-141209"/>
            <a:endParaRPr lang="th-TH" dirty="0" smtClean="0"/>
          </a:p>
        </p:txBody>
      </p:sp>
    </p:spTree>
    <p:extLst>
      <p:ext uri="{BB962C8B-B14F-4D97-AF65-F5344CB8AC3E}">
        <p14:creationId xmlns:p14="http://schemas.microsoft.com/office/powerpoint/2010/main" val="3617706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ภาพนิ่ง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507992">
              <a:lnSpc>
                <a:spcPct val="129000"/>
              </a:lnSpc>
            </a:pPr>
            <a:endParaRPr lang="th-TH" dirty="0"/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8C98E-3928-49C4-B081-BD646E8B5BB3}" type="slidenum">
              <a:rPr lang="th-TH" smtClean="0">
                <a:solidFill>
                  <a:prstClr val="black"/>
                </a:solidFill>
              </a:rPr>
              <a:pPr/>
              <a:t>14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89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889"/>
            <a:fld id="{160CB185-4491-47D7-9861-066E33041300}" type="slidenum">
              <a:rPr lang="en-US" smtClean="0">
                <a:solidFill>
                  <a:prstClr val="black"/>
                </a:solidFill>
              </a:rPr>
              <a:pPr defTabSz="915889"/>
              <a:t>39</a:t>
            </a:fld>
            <a:endParaRPr lang="th-TH" smtClean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850" y="749300"/>
            <a:ext cx="6605588" cy="3716338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6940" y="4718051"/>
            <a:ext cx="4937124" cy="4464049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41825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280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07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123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665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826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65861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61048"/>
            <a:ext cx="8534400" cy="177775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051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12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3" y="4406901"/>
            <a:ext cx="10753195" cy="1362075"/>
          </a:xfrm>
        </p:spPr>
        <p:txBody>
          <a:bodyPr anchor="t">
            <a:normAutofit/>
          </a:bodyPr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5413" y="2906713"/>
            <a:ext cx="10753195" cy="1500187"/>
          </a:xfr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1407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3499" y="1988841"/>
            <a:ext cx="4992555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988841"/>
            <a:ext cx="4910336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864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1916832"/>
            <a:ext cx="4992555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99" y="2708920"/>
            <a:ext cx="4992555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5" y="1916832"/>
            <a:ext cx="4896544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4" y="2708920"/>
            <a:ext cx="4910336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3737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244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20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7345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4" y="1196752"/>
            <a:ext cx="3805271" cy="504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96753"/>
            <a:ext cx="6815667" cy="482453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5414" y="1772817"/>
            <a:ext cx="3805271" cy="424847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7462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509120"/>
            <a:ext cx="7315200" cy="566738"/>
          </a:xfrm>
        </p:spPr>
        <p:txBody>
          <a:bodyPr anchor="b"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38243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157192"/>
            <a:ext cx="7315200" cy="804862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1494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2530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36427" y="1196753"/>
            <a:ext cx="1645973" cy="4752528"/>
          </a:xfrm>
        </p:spPr>
        <p:txBody>
          <a:bodyPr vert="eaVert"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5413" y="1196753"/>
            <a:ext cx="8928992" cy="475252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20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0483" y="6624981"/>
            <a:ext cx="24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795380" y="6593767"/>
            <a:ext cx="442913" cy="24938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fld id="{EA72F2ED-C0F1-A14B-BA46-C5847C658EB2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4234" y="0"/>
            <a:ext cx="12205103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80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09644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3806" y="2130849"/>
            <a:ext cx="10364391" cy="1470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099" y="3886655"/>
            <a:ext cx="8533805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341" indent="0" algn="ctr">
              <a:buNone/>
              <a:defRPr/>
            </a:lvl2pPr>
            <a:lvl3pPr marL="642684" indent="0" algn="ctr">
              <a:buNone/>
              <a:defRPr/>
            </a:lvl3pPr>
            <a:lvl4pPr marL="964025" indent="0" algn="ctr">
              <a:buNone/>
              <a:defRPr/>
            </a:lvl4pPr>
            <a:lvl5pPr marL="1285368" indent="0" algn="ctr">
              <a:buNone/>
              <a:defRPr/>
            </a:lvl5pPr>
            <a:lvl6pPr marL="1606711" indent="0" algn="ctr">
              <a:buNone/>
              <a:defRPr/>
            </a:lvl6pPr>
            <a:lvl7pPr marL="1928052" indent="0" algn="ctr">
              <a:buNone/>
              <a:defRPr/>
            </a:lvl7pPr>
            <a:lvl8pPr marL="2249396" indent="0" algn="ctr">
              <a:buNone/>
              <a:defRPr/>
            </a:lvl8pPr>
            <a:lvl9pPr marL="2570738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9237500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8661536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19" y="4406803"/>
            <a:ext cx="10362901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19" y="2906613"/>
            <a:ext cx="10362901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341" indent="0">
              <a:buNone/>
              <a:defRPr sz="1300"/>
            </a:lvl2pPr>
            <a:lvl3pPr marL="642684" indent="0">
              <a:buNone/>
              <a:defRPr sz="1100"/>
            </a:lvl3pPr>
            <a:lvl4pPr marL="964025" indent="0">
              <a:buNone/>
              <a:defRPr sz="1000"/>
            </a:lvl4pPr>
            <a:lvl5pPr marL="1285368" indent="0">
              <a:buNone/>
              <a:defRPr sz="1000"/>
            </a:lvl5pPr>
            <a:lvl6pPr marL="1606711" indent="0">
              <a:buNone/>
              <a:defRPr sz="1000"/>
            </a:lvl6pPr>
            <a:lvl7pPr marL="1928052" indent="0">
              <a:buNone/>
              <a:defRPr sz="1000"/>
            </a:lvl7pPr>
            <a:lvl8pPr marL="2249396" indent="0">
              <a:buNone/>
              <a:defRPr sz="1000"/>
            </a:lvl8pPr>
            <a:lvl9pPr marL="257073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57226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0628" y="1946680"/>
            <a:ext cx="4833937" cy="401835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7438" y="1946680"/>
            <a:ext cx="4833937" cy="401835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983439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8135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97" y="274588"/>
            <a:ext cx="1097160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196" y="1534791"/>
            <a:ext cx="5386091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341" indent="0">
              <a:buNone/>
              <a:defRPr sz="1400" b="1"/>
            </a:lvl2pPr>
            <a:lvl3pPr marL="642684" indent="0">
              <a:buNone/>
              <a:defRPr sz="1300" b="1"/>
            </a:lvl3pPr>
            <a:lvl4pPr marL="964025" indent="0">
              <a:buNone/>
              <a:defRPr sz="1100" b="1"/>
            </a:lvl4pPr>
            <a:lvl5pPr marL="1285368" indent="0">
              <a:buNone/>
              <a:defRPr sz="1100" b="1"/>
            </a:lvl5pPr>
            <a:lvl6pPr marL="1606711" indent="0">
              <a:buNone/>
              <a:defRPr sz="1100" b="1"/>
            </a:lvl6pPr>
            <a:lvl7pPr marL="1928052" indent="0">
              <a:buNone/>
              <a:defRPr sz="1100" b="1"/>
            </a:lvl7pPr>
            <a:lvl8pPr marL="2249396" indent="0">
              <a:buNone/>
              <a:defRPr sz="1100" b="1"/>
            </a:lvl8pPr>
            <a:lvl9pPr marL="2570738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196" y="2174380"/>
            <a:ext cx="5386091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741" y="1534791"/>
            <a:ext cx="5389065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341" indent="0">
              <a:buNone/>
              <a:defRPr sz="1400" b="1"/>
            </a:lvl2pPr>
            <a:lvl3pPr marL="642684" indent="0">
              <a:buNone/>
              <a:defRPr sz="1300" b="1"/>
            </a:lvl3pPr>
            <a:lvl4pPr marL="964025" indent="0">
              <a:buNone/>
              <a:defRPr sz="1100" b="1"/>
            </a:lvl4pPr>
            <a:lvl5pPr marL="1285368" indent="0">
              <a:buNone/>
              <a:defRPr sz="1100" b="1"/>
            </a:lvl5pPr>
            <a:lvl6pPr marL="1606711" indent="0">
              <a:buNone/>
              <a:defRPr sz="1100" b="1"/>
            </a:lvl6pPr>
            <a:lvl7pPr marL="1928052" indent="0">
              <a:buNone/>
              <a:defRPr sz="1100" b="1"/>
            </a:lvl7pPr>
            <a:lvl8pPr marL="2249396" indent="0">
              <a:buNone/>
              <a:defRPr sz="1100" b="1"/>
            </a:lvl8pPr>
            <a:lvl9pPr marL="2570738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741" y="2174380"/>
            <a:ext cx="5389065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2638906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845254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4898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06" y="273481"/>
            <a:ext cx="401091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965" y="273473"/>
            <a:ext cx="681484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06" y="1435448"/>
            <a:ext cx="401091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341" indent="0">
              <a:buNone/>
              <a:defRPr sz="800"/>
            </a:lvl2pPr>
            <a:lvl3pPr marL="642684" indent="0">
              <a:buNone/>
              <a:defRPr sz="700"/>
            </a:lvl3pPr>
            <a:lvl4pPr marL="964025" indent="0">
              <a:buNone/>
              <a:defRPr sz="600"/>
            </a:lvl4pPr>
            <a:lvl5pPr marL="1285368" indent="0">
              <a:buNone/>
              <a:defRPr sz="600"/>
            </a:lvl5pPr>
            <a:lvl6pPr marL="1606711" indent="0">
              <a:buNone/>
              <a:defRPr sz="600"/>
            </a:lvl6pPr>
            <a:lvl7pPr marL="1928052" indent="0">
              <a:buNone/>
              <a:defRPr sz="600"/>
            </a:lvl7pPr>
            <a:lvl8pPr marL="2249396" indent="0">
              <a:buNone/>
              <a:defRPr sz="600"/>
            </a:lvl8pPr>
            <a:lvl9pPr marL="2570738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7418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190" y="4800825"/>
            <a:ext cx="7314903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190" y="612800"/>
            <a:ext cx="7314903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341" indent="0">
              <a:buNone/>
              <a:defRPr sz="2000"/>
            </a:lvl2pPr>
            <a:lvl3pPr marL="642684" indent="0">
              <a:buNone/>
              <a:defRPr sz="1700"/>
            </a:lvl3pPr>
            <a:lvl4pPr marL="964025" indent="0">
              <a:buNone/>
              <a:defRPr sz="1400"/>
            </a:lvl4pPr>
            <a:lvl5pPr marL="1285368" indent="0">
              <a:buNone/>
              <a:defRPr sz="1400"/>
            </a:lvl5pPr>
            <a:lvl6pPr marL="1606711" indent="0">
              <a:buNone/>
              <a:defRPr sz="1400"/>
            </a:lvl6pPr>
            <a:lvl7pPr marL="1928052" indent="0">
              <a:buNone/>
              <a:defRPr sz="1400"/>
            </a:lvl7pPr>
            <a:lvl8pPr marL="2249396" indent="0">
              <a:buNone/>
              <a:defRPr sz="1400"/>
            </a:lvl8pPr>
            <a:lvl9pPr marL="2570738" indent="0">
              <a:buNone/>
              <a:defRPr sz="1400"/>
            </a:lvl9pPr>
          </a:lstStyle>
          <a:p>
            <a:pPr lvl="0"/>
            <a:endParaRPr lang="th-TH" noProof="0" smtClean="0">
              <a:sym typeface="Helvetica Light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190" y="5367860"/>
            <a:ext cx="7314903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341" indent="0">
              <a:buNone/>
              <a:defRPr sz="800"/>
            </a:lvl2pPr>
            <a:lvl3pPr marL="642684" indent="0">
              <a:buNone/>
              <a:defRPr sz="700"/>
            </a:lvl3pPr>
            <a:lvl4pPr marL="964025" indent="0">
              <a:buNone/>
              <a:defRPr sz="600"/>
            </a:lvl4pPr>
            <a:lvl5pPr marL="1285368" indent="0">
              <a:buNone/>
              <a:defRPr sz="600"/>
            </a:lvl5pPr>
            <a:lvl6pPr marL="1606711" indent="0">
              <a:buNone/>
              <a:defRPr sz="600"/>
            </a:lvl6pPr>
            <a:lvl7pPr marL="1928052" indent="0">
              <a:buNone/>
              <a:defRPr sz="600"/>
            </a:lvl7pPr>
            <a:lvl8pPr marL="2249396" indent="0">
              <a:buNone/>
              <a:defRPr sz="600"/>
            </a:lvl8pPr>
            <a:lvl9pPr marL="2570738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3192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40816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48687" y="178594"/>
            <a:ext cx="2452688" cy="5786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5" y="178594"/>
            <a:ext cx="7215188" cy="5786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255751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5913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65861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61048"/>
            <a:ext cx="8534400" cy="177775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066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67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680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3" y="4406901"/>
            <a:ext cx="10753195" cy="1362075"/>
          </a:xfrm>
        </p:spPr>
        <p:txBody>
          <a:bodyPr anchor="t">
            <a:normAutofit/>
          </a:bodyPr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5413" y="2906713"/>
            <a:ext cx="10753195" cy="1500187"/>
          </a:xfr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8558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3499" y="1988841"/>
            <a:ext cx="4992555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988841"/>
            <a:ext cx="4910336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1016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1916832"/>
            <a:ext cx="4992555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99" y="2708920"/>
            <a:ext cx="4992555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5" y="1916832"/>
            <a:ext cx="4896544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4" y="2708920"/>
            <a:ext cx="4910336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7452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6658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8388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4" y="1196752"/>
            <a:ext cx="3805271" cy="504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96753"/>
            <a:ext cx="6815667" cy="482453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5414" y="1772817"/>
            <a:ext cx="3805271" cy="424847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8743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509120"/>
            <a:ext cx="7315200" cy="566738"/>
          </a:xfrm>
        </p:spPr>
        <p:txBody>
          <a:bodyPr anchor="b"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38243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157192"/>
            <a:ext cx="7315200" cy="804862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2150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9002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36427" y="1196753"/>
            <a:ext cx="1645973" cy="4752528"/>
          </a:xfrm>
        </p:spPr>
        <p:txBody>
          <a:bodyPr vert="eaVert"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5413" y="1196753"/>
            <a:ext cx="8928992" cy="475252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1714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0483" y="6624981"/>
            <a:ext cx="24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795380" y="6593767"/>
            <a:ext cx="442913" cy="24938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fld id="{EA72F2ED-C0F1-A14B-BA46-C5847C658EB2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4234" y="0"/>
            <a:ext cx="12205103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80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3942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722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26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672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800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093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25AA9C-B297-4EB7-9265-E924273BFBBD}" type="datetimeFigureOut">
              <a:rPr lang="en-US" smtClean="0"/>
              <a:t>11/3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233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83499" y="980728"/>
            <a:ext cx="9998901" cy="868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2060849"/>
            <a:ext cx="9998901" cy="3960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414" y="6088212"/>
            <a:ext cx="7680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DB Chidlom X Medium" panose="02000806000000020004" pitchFamily="2" charset="-34"/>
                <a:cs typeface="DB Chidlom X Medium" panose="02000806000000020004" pitchFamily="2" charset="-34"/>
              </a:defRPr>
            </a:lvl1pPr>
          </a:lstStyle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76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7030A0"/>
          </a:solidFill>
          <a:latin typeface="DB Chidlom X Bold" panose="02000806000000020004" pitchFamily="2" charset="-34"/>
          <a:ea typeface="+mj-ea"/>
          <a:cs typeface="DB Chidlom X Bold" panose="02000806000000020004" pitchFamily="2" charset="-34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/>
          </p:cNvSpPr>
          <p:nvPr>
            <p:ph type="title"/>
          </p:nvPr>
        </p:nvSpPr>
        <p:spPr bwMode="auto">
          <a:xfrm>
            <a:off x="1190635" y="178594"/>
            <a:ext cx="9810751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03" tIns="35703" rIns="35703" bIns="35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>
                <a:sym typeface="Helvetica Light" charset="0"/>
              </a:rPr>
              <a:t>Click to edit Master title style</a:t>
            </a:r>
          </a:p>
        </p:txBody>
      </p:sp>
      <p:sp>
        <p:nvSpPr>
          <p:cNvPr id="1027" name="Rectangle 2"/>
          <p:cNvSpPr>
            <a:spLocks noGrp="1"/>
          </p:cNvSpPr>
          <p:nvPr>
            <p:ph type="body" idx="1"/>
          </p:nvPr>
        </p:nvSpPr>
        <p:spPr bwMode="auto">
          <a:xfrm>
            <a:off x="1190635" y="1946680"/>
            <a:ext cx="9810751" cy="4018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03" tIns="35703" rIns="35703" bIns="35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>
                <a:sym typeface="Helvetica Light" charset="0"/>
              </a:rPr>
              <a:t>Click to edit Master text styles</a:t>
            </a:r>
          </a:p>
          <a:p>
            <a:pPr lvl="1"/>
            <a:r>
              <a:rPr lang="th-TH" smtClean="0">
                <a:sym typeface="Helvetica Light" charset="0"/>
              </a:rPr>
              <a:t>Second level</a:t>
            </a:r>
          </a:p>
          <a:p>
            <a:pPr lvl="2"/>
            <a:r>
              <a:rPr lang="th-TH" smtClean="0">
                <a:sym typeface="Helvetica Light" charset="0"/>
              </a:rPr>
              <a:t>Third level</a:t>
            </a:r>
          </a:p>
          <a:p>
            <a:pPr lvl="3"/>
            <a:r>
              <a:rPr lang="th-TH" smtClean="0">
                <a:sym typeface="Helvetica Light" charset="0"/>
              </a:rPr>
              <a:t>Fourth level</a:t>
            </a:r>
          </a:p>
          <a:p>
            <a:pPr lvl="4"/>
            <a:r>
              <a:rPr lang="th-TH" smtClean="0">
                <a:sym typeface="Helvetica Light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988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+mj-lt"/>
          <a:ea typeface="+mj-ea"/>
          <a:cs typeface="+mj-cs"/>
          <a:sym typeface="Helvetica Light" charset="0"/>
        </a:defRPr>
      </a:lvl1pPr>
      <a:lvl2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2pPr>
      <a:lvl3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3pPr>
      <a:lvl4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4pPr>
      <a:lvl5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5pPr>
      <a:lvl6pPr marL="321341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6pPr>
      <a:lvl7pPr marL="642684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7pPr>
      <a:lvl8pPr marL="964025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8pPr>
      <a:lvl9pPr marL="1285368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9pPr>
    </p:titleStyle>
    <p:bodyStyle>
      <a:lvl1pPr marL="267784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1pPr>
      <a:lvl2pPr marL="535569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2pPr>
      <a:lvl3pPr marL="803356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3pPr>
      <a:lvl4pPr marL="1071139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4pPr>
      <a:lvl5pPr marL="1338925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5pPr>
      <a:lvl6pPr marL="1660268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6pPr>
      <a:lvl7pPr marL="1981609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7pPr>
      <a:lvl8pPr marL="2302951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8pPr>
      <a:lvl9pPr marL="2624294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9pPr>
    </p:bodyStyle>
    <p:otherStyle>
      <a:defPPr>
        <a:defRPr lang="th-TH"/>
      </a:defPPr>
      <a:lvl1pPr marL="0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21341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2684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64025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368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06711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052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396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570738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83499" y="980728"/>
            <a:ext cx="9998901" cy="868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2060849"/>
            <a:ext cx="9998901" cy="3960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414" y="6088212"/>
            <a:ext cx="7680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DB Chidlom X Medium" panose="02000806000000020004" pitchFamily="2" charset="-34"/>
                <a:cs typeface="DB Chidlom X Medium" panose="02000806000000020004" pitchFamily="2" charset="-34"/>
              </a:defRPr>
            </a:lvl1pPr>
          </a:lstStyle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894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7030A0"/>
          </a:solidFill>
          <a:latin typeface="DB Chidlom X Bold" panose="02000806000000020004" pitchFamily="2" charset="-34"/>
          <a:ea typeface="+mj-ea"/>
          <a:cs typeface="DB Chidlom X Bold" panose="02000806000000020004" pitchFamily="2" charset="-34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&#3648;&#3585;&#3619;&#3655;&#3604;&#3588;&#3623;&#3634;&#3617;&#3619;&#3641;&#3657;.net/&#3616;&#3634;&#3588;&#3585;&#3621;&#3634;&#3591;&#3617;&#3637;&#3585;&#3637;&#3656;&#3592;&#3633;&#3591;&#3627;&#3623;&#3633;&#3604;-&#3629;&#3632;&#3652;&#3619;&#3610;&#3657;&#3634;&#3591;/" TargetMode="External"/><Relationship Id="rId7" Type="http://schemas.openxmlformats.org/officeDocument/2006/relationships/hyperlink" Target="http://www.&#3648;&#3585;&#3619;&#3655;&#3604;&#3588;&#3623;&#3634;&#3617;&#3619;&#3641;&#3657;.net/&#3648;&#3617;&#3639;&#3629;&#3591;&#3627;&#3621;&#3623;&#3591;&#3629;&#3634;&#3648;&#3595;&#3637;&#3618;&#3609;/" TargetMode="External"/><Relationship Id="rId2" Type="http://schemas.openxmlformats.org/officeDocument/2006/relationships/hyperlink" Target="http://www.&#3648;&#3585;&#3619;&#3655;&#3604;&#3588;&#3623;&#3634;&#3617;&#3619;&#3641;&#3657;.net/&#3626;&#3637;&#3611;&#3619;&#3632;&#3592;&#3635;&#3623;&#3633;&#3609;/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://www.&#3648;&#3585;&#3619;&#3655;&#3604;&#3588;&#3623;&#3634;&#3617;&#3619;&#3641;&#3657;.net/&#3623;&#3636;&#3608;&#3637;&#3604;&#3641;&#3607;&#3629;&#3591;&#3588;&#3635;&#3649;&#3607;&#3657;-&#3607;&#3629;&#3591;&#3588;&#3635;&#3649;&#3607;&#3657;&#3604;&#3641;&#3629;&#3618;&#3656;&#3634;&#3591;&#3652;&#3619;/" TargetMode="External"/><Relationship Id="rId5" Type="http://schemas.openxmlformats.org/officeDocument/2006/relationships/hyperlink" Target="http://www.&#3648;&#3585;&#3619;&#3655;&#3604;&#3588;&#3623;&#3634;&#3617;&#3619;&#3641;&#3657;.net/&#3616;&#3634;&#3588;&#3651;&#3605;&#3657;&#3617;&#3637;&#3585;&#3637;&#3656;&#3592;&#3633;&#3591;&#3627;&#3623;&#3633;&#3604;-&#3629;&#3632;&#3652;&#3619;&#3610;&#3657;&#3634;&#3591;/" TargetMode="External"/><Relationship Id="rId4" Type="http://schemas.openxmlformats.org/officeDocument/2006/relationships/hyperlink" Target="http://www.&#3648;&#3585;&#3619;&#3655;&#3604;&#3588;&#3623;&#3634;&#3617;&#3619;&#3641;&#3657;.net/&#3616;&#3634;&#3588;&#3605;&#3632;&#3623;&#3633;&#3609;&#3629;&#3629;&#3585;&#3648;&#3593;&#3637;&#3618;&#3591;&#3648;&#3627;&#3609;&#3639;&#3629;&#3617;&#3637;&#3585;&#3637;&#3656;&#3592;&#3633;&#3591;&#3627;&#3623;&#3633;&#3604;-&#3629;&#3632;&#3652;&#3619;&#3610;&#3657;&#3634;&#3591;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emf"/><Relationship Id="rId7" Type="http://schemas.openxmlformats.org/officeDocument/2006/relationships/image" Target="../media/image39.pn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8.gif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7.gif"/><Relationship Id="rId5" Type="http://schemas.openxmlformats.org/officeDocument/2006/relationships/image" Target="../media/image46.gif"/><Relationship Id="rId4" Type="http://schemas.microsoft.com/office/2007/relationships/hdphoto" Target="../media/hdphoto1.wdp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5.png"/><Relationship Id="rId11" Type="http://schemas.openxmlformats.org/officeDocument/2006/relationships/image" Target="../media/image60.jpe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emf"/><Relationship Id="rId9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63.emf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5657671"/>
            <a:ext cx="12192000" cy="1200329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th-TH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ผลิตบัณฑิตคุณภาพ</a:t>
            </a:r>
            <a:r>
              <a:rPr lang="en-US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7200" dirty="0" err="1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มทร</a:t>
            </a:r>
            <a:r>
              <a:rPr lang="th-TH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.พระนคร”</a:t>
            </a:r>
          </a:p>
        </p:txBody>
      </p:sp>
      <p:sp>
        <p:nvSpPr>
          <p:cNvPr id="3" name="Rectangle 2"/>
          <p:cNvSpPr/>
          <p:nvPr/>
        </p:nvSpPr>
        <p:spPr>
          <a:xfrm>
            <a:off x="81709" y="1817759"/>
            <a:ext cx="904927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h-TH" sz="4400" dirty="0" smtClean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โครงการ</a:t>
            </a:r>
            <a:r>
              <a:rPr lang="th-TH" sz="8000" dirty="0" smtClean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แผน</a:t>
            </a:r>
            <a:r>
              <a:rPr lang="th-TH" sz="80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ยุทธศาสตร์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7698" y="0"/>
            <a:ext cx="2859272" cy="1993565"/>
          </a:xfrm>
          <a:prstGeom prst="rect">
            <a:avLst/>
          </a:prstGeom>
        </p:spPr>
      </p:pic>
      <p:pic>
        <p:nvPicPr>
          <p:cNvPr id="6" name="Picture 2" descr="G:\งานไดร์ท D 27 มีนาคม 2557\รูปภาพ\รูปภาพจาก my doc\logo_rmutp-163x3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925" y="1"/>
            <a:ext cx="1084863" cy="1996678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0" y="4524451"/>
            <a:ext cx="121919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8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นับจากนี้ไป</a:t>
            </a:r>
            <a:r>
              <a:rPr lang="en-US" sz="48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48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ทบาทด้านการศึกษาของ </a:t>
            </a:r>
            <a:r>
              <a:rPr lang="en-US" sz="54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 </a:t>
            </a:r>
            <a:r>
              <a:rPr lang="th-TH" sz="54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ืออะไร</a:t>
            </a:r>
            <a:endParaRPr lang="en-US" sz="5400" dirty="0">
              <a:solidFill>
                <a:srgbClr val="FFFF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8355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268558" y="2137313"/>
            <a:ext cx="9690473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สู่การเปลี่ยนแปลงจากภายนอก</a:t>
            </a:r>
          </a:p>
        </p:txBody>
      </p:sp>
    </p:spTree>
    <p:extLst>
      <p:ext uri="{BB962C8B-B14F-4D97-AF65-F5344CB8AC3E}">
        <p14:creationId xmlns:p14="http://schemas.microsoft.com/office/powerpoint/2010/main" val="338579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5400015" y="5651548"/>
            <a:ext cx="766158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lob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3" name="สี่เหลี่ยมผืนผ้ามุมมน 13"/>
          <p:cNvSpPr/>
          <p:nvPr/>
        </p:nvSpPr>
        <p:spPr bwMode="auto">
          <a:xfrm>
            <a:off x="2753410" y="1815315"/>
            <a:ext cx="3717027" cy="3384934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64255" tIns="32126" rIns="64255" bIns="32126" numCol="1" rtlCol="0" anchor="t" anchorCtr="0" compatLnSpc="1">
            <a:prstTxWarp prst="textNoShape">
              <a:avLst/>
            </a:prstTxWarp>
          </a:bodyPr>
          <a:lstStyle/>
          <a:p>
            <a:pPr defTabSz="410381" fontAlgn="base" hangingPunct="0">
              <a:spcBef>
                <a:spcPct val="0"/>
              </a:spcBef>
              <a:spcAft>
                <a:spcPct val="0"/>
              </a:spcAft>
            </a:pPr>
            <a:endParaRPr lang="th-TH" sz="230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grpSp>
        <p:nvGrpSpPr>
          <p:cNvPr id="34" name="กลุ่ม 14"/>
          <p:cNvGrpSpPr/>
          <p:nvPr/>
        </p:nvGrpSpPr>
        <p:grpSpPr>
          <a:xfrm>
            <a:off x="3927145" y="2511830"/>
            <a:ext cx="1319237" cy="1749049"/>
            <a:chOff x="7433118" y="2963932"/>
            <a:chExt cx="2041082" cy="2598667"/>
          </a:xfrm>
        </p:grpSpPr>
        <p:sp>
          <p:nvSpPr>
            <p:cNvPr id="35" name="ลูกศรโค้งลง 15"/>
            <p:cNvSpPr/>
            <p:nvPr/>
          </p:nvSpPr>
          <p:spPr bwMode="auto">
            <a:xfrm>
              <a:off x="7509318" y="2963932"/>
              <a:ext cx="1964882" cy="914400"/>
            </a:xfrm>
            <a:prstGeom prst="curved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410381" fontAlgn="base" hangingPunct="0">
                <a:spcBef>
                  <a:spcPct val="0"/>
                </a:spcBef>
                <a:spcAft>
                  <a:spcPct val="0"/>
                </a:spcAft>
              </a:pPr>
              <a:endParaRPr lang="th-TH" sz="2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36" name="ลูกศรโค้งลง 16"/>
            <p:cNvSpPr/>
            <p:nvPr/>
          </p:nvSpPr>
          <p:spPr bwMode="auto">
            <a:xfrm rot="10800000">
              <a:off x="7433118" y="4648199"/>
              <a:ext cx="1964882" cy="914400"/>
            </a:xfrm>
            <a:prstGeom prst="curved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410381" fontAlgn="base" hangingPunct="0">
                <a:spcBef>
                  <a:spcPct val="0"/>
                </a:spcBef>
                <a:spcAft>
                  <a:spcPct val="0"/>
                </a:spcAft>
              </a:pPr>
              <a:endParaRPr lang="th-TH" sz="2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3166543" y="3042160"/>
            <a:ext cx="3000374" cy="779036"/>
          </a:xfrm>
          <a:prstGeom prst="rect">
            <a:avLst/>
          </a:prstGeom>
          <a:noFill/>
        </p:spPr>
        <p:txBody>
          <a:bodyPr wrap="square" lIns="64255" tIns="32126" rIns="64255" bIns="32126" rtlCol="0">
            <a:spAutoFit/>
          </a:bodyPr>
          <a:lstStyle/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he  World</a:t>
            </a:r>
          </a:p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In the 21</a:t>
            </a:r>
            <a:r>
              <a:rPr lang="en-US" sz="2300" b="1" baseline="300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t</a:t>
            </a:r>
            <a:r>
              <a:rPr lang="en-US" sz="2300" b="1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 Century</a:t>
            </a:r>
            <a:endParaRPr lang="th-TH" sz="2300" b="1" dirty="0">
              <a:solidFill>
                <a:srgbClr val="FFFFFF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 rot="16200000">
            <a:off x="1540368" y="2549010"/>
            <a:ext cx="804630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Virtu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970665" y="5651548"/>
            <a:ext cx="655550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Loc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0" name="สี่เหลี่ยมผืนผ้ามุมมน 11"/>
          <p:cNvSpPr/>
          <p:nvPr/>
        </p:nvSpPr>
        <p:spPr bwMode="auto">
          <a:xfrm>
            <a:off x="2496888" y="3915831"/>
            <a:ext cx="2142428" cy="1692468"/>
          </a:xfrm>
          <a:prstGeom prst="roundRect">
            <a:avLst/>
          </a:prstGeom>
          <a:solidFill>
            <a:srgbClr val="095CC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64255" tIns="32126" rIns="64255" bIns="32126" numCol="1" rtlCol="0" anchor="t" anchorCtr="0" compatLnSpc="1">
            <a:prstTxWarp prst="textNoShape">
              <a:avLst/>
            </a:prstTxWarp>
          </a:bodyPr>
          <a:lstStyle/>
          <a:p>
            <a:pPr defTabSz="410381" fontAlgn="base" hangingPunct="0">
              <a:spcBef>
                <a:spcPct val="0"/>
              </a:spcBef>
              <a:spcAft>
                <a:spcPct val="0"/>
              </a:spcAft>
            </a:pPr>
            <a:endParaRPr lang="th-TH" sz="230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44197" y="4213016"/>
            <a:ext cx="1424991" cy="1126709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he World in</a:t>
            </a:r>
          </a:p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he Past</a:t>
            </a:r>
          </a:p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enturies</a:t>
            </a:r>
          </a:p>
        </p:txBody>
      </p:sp>
      <p:sp>
        <p:nvSpPr>
          <p:cNvPr id="42" name="TextBox 41"/>
          <p:cNvSpPr txBox="1"/>
          <p:nvPr/>
        </p:nvSpPr>
        <p:spPr>
          <a:xfrm rot="16200000">
            <a:off x="1453667" y="4603935"/>
            <a:ext cx="950502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hysic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3" name="Text Box 41"/>
          <p:cNvSpPr txBox="1">
            <a:spLocks noChangeArrowheads="1"/>
          </p:cNvSpPr>
          <p:nvPr/>
        </p:nvSpPr>
        <p:spPr bwMode="auto">
          <a:xfrm>
            <a:off x="1454299" y="1285235"/>
            <a:ext cx="5953554" cy="495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70" tIns="32135" rIns="64270" bIns="32135">
            <a:spAutoFit/>
          </a:bodyPr>
          <a:lstStyle/>
          <a:p>
            <a:pPr algn="ctr" defTabSz="914060" hangingPunct="0">
              <a:defRPr/>
            </a:pPr>
            <a:r>
              <a:rPr lang="en-GB" sz="28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From Sense of Place to Sense of Spac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603251" y="4193906"/>
            <a:ext cx="2660660" cy="454451"/>
          </a:xfrm>
          <a:prstGeom prst="rect">
            <a:avLst/>
          </a:prstGeom>
          <a:noFill/>
        </p:spPr>
        <p:txBody>
          <a:bodyPr wrap="square" lIns="64277" tIns="32139" rIns="64277" bIns="32139" rtlCol="0">
            <a:spAutoFit/>
          </a:bodyPr>
          <a:lstStyle/>
          <a:p>
            <a:pPr algn="ctr" defTabSz="410667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500" b="1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ense of Place</a:t>
            </a:r>
            <a:endParaRPr lang="th-TH" sz="2500" b="1" dirty="0">
              <a:solidFill>
                <a:srgbClr val="0070C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000727" y="2001193"/>
            <a:ext cx="1846626" cy="449626"/>
          </a:xfrm>
          <a:prstGeom prst="rect">
            <a:avLst/>
          </a:prstGeom>
          <a:noFill/>
        </p:spPr>
        <p:txBody>
          <a:bodyPr wrap="none" lIns="64277" tIns="32139" rIns="64277" bIns="32139" rtlCol="0">
            <a:spAutoFit/>
          </a:bodyPr>
          <a:lstStyle/>
          <a:p>
            <a:pPr algn="ctr" defTabSz="410667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500" b="1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ense of Space</a:t>
            </a:r>
            <a:endParaRPr lang="th-TH" sz="2500" b="1" dirty="0">
              <a:solidFill>
                <a:srgbClr val="00B05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013631" y="2559957"/>
            <a:ext cx="1646571" cy="1219068"/>
          </a:xfrm>
          <a:prstGeom prst="rect">
            <a:avLst/>
          </a:prstGeom>
          <a:noFill/>
        </p:spPr>
        <p:txBody>
          <a:bodyPr wrap="none" lIns="64277" tIns="32139" rIns="64277" bIns="32139" rtlCol="0">
            <a:spAutoFit/>
          </a:bodyPr>
          <a:lstStyle/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nyon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nywher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nytime</a:t>
            </a:r>
            <a:endParaRPr lang="th-TH" sz="2500" dirty="0">
              <a:solidFill>
                <a:srgbClr val="00B05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155801" y="4916181"/>
            <a:ext cx="1838932" cy="1219068"/>
          </a:xfrm>
          <a:prstGeom prst="rect">
            <a:avLst/>
          </a:prstGeom>
          <a:noFill/>
        </p:spPr>
        <p:txBody>
          <a:bodyPr wrap="none" lIns="64277" tIns="32139" rIns="64277" bIns="32139" rtlCol="0">
            <a:spAutoFit/>
          </a:bodyPr>
          <a:lstStyle/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meon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mewher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metime</a:t>
            </a:r>
            <a:endParaRPr lang="th-TH" sz="2500" dirty="0">
              <a:solidFill>
                <a:srgbClr val="0070C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8" name="สี่เหลี่ยมผืนผ้า 18"/>
          <p:cNvSpPr/>
          <p:nvPr/>
        </p:nvSpPr>
        <p:spPr>
          <a:xfrm>
            <a:off x="118156" y="108034"/>
            <a:ext cx="10150106" cy="1049791"/>
          </a:xfrm>
          <a:prstGeom prst="rect">
            <a:avLst/>
          </a:prstGeom>
        </p:spPr>
        <p:txBody>
          <a:bodyPr wrap="square" lIns="64277" tIns="32139" rIns="64277" bIns="32139">
            <a:spAutoFit/>
          </a:bodyPr>
          <a:lstStyle/>
          <a:p>
            <a:pPr defTabSz="408330"/>
            <a:r>
              <a:rPr lang="en-US" altLang="ko-KR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 fundamental shift from the Industry Age p</a:t>
            </a:r>
            <a:r>
              <a:rPr lang="en-US" altLang="ko-KR" sz="3200" b="1" dirty="0" smtClean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latform </a:t>
            </a:r>
            <a:r>
              <a:rPr lang="en-US" altLang="ko-KR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o the Digital Age </a:t>
            </a:r>
            <a:r>
              <a:rPr lang="en-US" altLang="ko-KR" sz="3200" b="1" dirty="0" smtClean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latform </a:t>
            </a:r>
            <a:r>
              <a:rPr lang="en-US" altLang="ko-KR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ives rise to t</a:t>
            </a:r>
            <a:r>
              <a:rPr lang="en-US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he new era of global civilization</a:t>
            </a:r>
            <a:endParaRPr lang="th-TH" sz="3200" b="1" dirty="0">
              <a:solidFill>
                <a:srgbClr val="9900CC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78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8"/>
          <p:cNvSpPr>
            <a:spLocks/>
          </p:cNvSpPr>
          <p:nvPr/>
        </p:nvSpPr>
        <p:spPr bwMode="auto">
          <a:xfrm>
            <a:off x="268401" y="303613"/>
            <a:ext cx="8914013" cy="500063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9261" tIns="44631" rIns="89261" bIns="44631"/>
          <a:lstStyle/>
          <a:p>
            <a:pPr defTabSz="408372" fontAlgn="base" hangingPunct="0">
              <a:spcBef>
                <a:spcPts val="1477"/>
              </a:spcBef>
              <a:spcAft>
                <a:spcPct val="0"/>
              </a:spcAft>
            </a:pPr>
            <a:r>
              <a:rPr lang="en-US" sz="3100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From Solid Phase Locality to Liquid Phase </a:t>
            </a:r>
            <a:r>
              <a:rPr lang="en-US" sz="3100" b="1" dirty="0" err="1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lobality</a:t>
            </a:r>
            <a:endParaRPr lang="en-US" sz="3100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grpSp>
        <p:nvGrpSpPr>
          <p:cNvPr id="176" name="กลุ่ม 1"/>
          <p:cNvGrpSpPr/>
          <p:nvPr/>
        </p:nvGrpSpPr>
        <p:grpSpPr>
          <a:xfrm>
            <a:off x="4937974" y="4609690"/>
            <a:ext cx="2083651" cy="1397825"/>
            <a:chOff x="3774224" y="5357815"/>
            <a:chExt cx="2083651" cy="1397825"/>
          </a:xfrm>
        </p:grpSpPr>
        <p:sp>
          <p:nvSpPr>
            <p:cNvPr id="177" name="TextBox 18"/>
            <p:cNvSpPr txBox="1">
              <a:spLocks noChangeArrowheads="1"/>
            </p:cNvSpPr>
            <p:nvPr/>
          </p:nvSpPr>
          <p:spPr bwMode="auto">
            <a:xfrm>
              <a:off x="3774224" y="5357815"/>
              <a:ext cx="2009234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Connectivity</a:t>
              </a:r>
            </a:p>
          </p:txBody>
        </p:sp>
        <p:sp>
          <p:nvSpPr>
            <p:cNvPr id="178" name="TextBox 19"/>
            <p:cNvSpPr txBox="1">
              <a:spLocks noChangeArrowheads="1"/>
            </p:cNvSpPr>
            <p:nvPr/>
          </p:nvSpPr>
          <p:spPr bwMode="auto">
            <a:xfrm>
              <a:off x="3774225" y="5699526"/>
              <a:ext cx="2083650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Interactivity</a:t>
              </a:r>
            </a:p>
          </p:txBody>
        </p:sp>
        <p:sp>
          <p:nvSpPr>
            <p:cNvPr id="179" name="TextBox 18"/>
            <p:cNvSpPr txBox="1">
              <a:spLocks noChangeArrowheads="1"/>
            </p:cNvSpPr>
            <p:nvPr/>
          </p:nvSpPr>
          <p:spPr bwMode="auto">
            <a:xfrm>
              <a:off x="3774224" y="6041242"/>
              <a:ext cx="2009234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Mobility</a:t>
              </a:r>
            </a:p>
          </p:txBody>
        </p:sp>
        <p:sp>
          <p:nvSpPr>
            <p:cNvPr id="180" name="TextBox 19"/>
            <p:cNvSpPr txBox="1">
              <a:spLocks noChangeArrowheads="1"/>
            </p:cNvSpPr>
            <p:nvPr/>
          </p:nvSpPr>
          <p:spPr bwMode="auto">
            <a:xfrm>
              <a:off x="3774225" y="6382958"/>
              <a:ext cx="2083650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</a:t>
              </a:r>
              <a:r>
                <a:rPr lang="en-US" sz="2000" dirty="0" err="1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Virtuality</a:t>
              </a:r>
              <a:endParaRPr lang="en-US" sz="20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941260" y="1075869"/>
            <a:ext cx="5973209" cy="2764862"/>
            <a:chOff x="-222490" y="1823994"/>
            <a:chExt cx="5973209" cy="2764862"/>
          </a:xfrm>
        </p:grpSpPr>
        <p:sp>
          <p:nvSpPr>
            <p:cNvPr id="2" name="Line 2"/>
            <p:cNvSpPr>
              <a:spLocks noChangeShapeType="1"/>
            </p:cNvSpPr>
            <p:nvPr/>
          </p:nvSpPr>
          <p:spPr bwMode="auto">
            <a:xfrm>
              <a:off x="1998000" y="2290577"/>
              <a:ext cx="8909" cy="229827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3" name="Line 3"/>
            <p:cNvSpPr>
              <a:spLocks noChangeShapeType="1"/>
            </p:cNvSpPr>
            <p:nvPr/>
          </p:nvSpPr>
          <p:spPr bwMode="auto">
            <a:xfrm>
              <a:off x="2657216" y="2290577"/>
              <a:ext cx="8909" cy="229827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1374417" y="2290577"/>
              <a:ext cx="8909" cy="229827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5" name="Rectangle 5"/>
            <p:cNvSpPr>
              <a:spLocks/>
            </p:cNvSpPr>
            <p:nvPr/>
          </p:nvSpPr>
          <p:spPr bwMode="auto">
            <a:xfrm>
              <a:off x="1035898" y="2539998"/>
              <a:ext cx="543408" cy="516668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6" name="Rectangle 6"/>
            <p:cNvSpPr>
              <a:spLocks/>
            </p:cNvSpPr>
            <p:nvPr/>
          </p:nvSpPr>
          <p:spPr bwMode="auto">
            <a:xfrm>
              <a:off x="1686205" y="2539998"/>
              <a:ext cx="552316" cy="516668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7" name="Rectangle 7"/>
            <p:cNvSpPr>
              <a:spLocks/>
            </p:cNvSpPr>
            <p:nvPr/>
          </p:nvSpPr>
          <p:spPr bwMode="auto">
            <a:xfrm>
              <a:off x="2345421" y="2539998"/>
              <a:ext cx="552316" cy="516668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8" name="Rectangle 8"/>
            <p:cNvSpPr>
              <a:spLocks/>
            </p:cNvSpPr>
            <p:nvPr/>
          </p:nvSpPr>
          <p:spPr bwMode="auto">
            <a:xfrm>
              <a:off x="1035898" y="3172470"/>
              <a:ext cx="543408" cy="525575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9" name="Rectangle 9"/>
            <p:cNvSpPr>
              <a:spLocks/>
            </p:cNvSpPr>
            <p:nvPr/>
          </p:nvSpPr>
          <p:spPr bwMode="auto">
            <a:xfrm>
              <a:off x="1686205" y="3172470"/>
              <a:ext cx="552316" cy="525575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0" name="Rectangle 10"/>
            <p:cNvSpPr>
              <a:spLocks/>
            </p:cNvSpPr>
            <p:nvPr/>
          </p:nvSpPr>
          <p:spPr bwMode="auto">
            <a:xfrm>
              <a:off x="2345421" y="3172470"/>
              <a:ext cx="552316" cy="525575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1" name="Rectangle 11"/>
            <p:cNvSpPr>
              <a:spLocks/>
            </p:cNvSpPr>
            <p:nvPr/>
          </p:nvSpPr>
          <p:spPr bwMode="auto">
            <a:xfrm>
              <a:off x="1035898" y="3813850"/>
              <a:ext cx="543408" cy="516668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2" name="Rectangle 12"/>
            <p:cNvSpPr>
              <a:spLocks/>
            </p:cNvSpPr>
            <p:nvPr/>
          </p:nvSpPr>
          <p:spPr bwMode="auto">
            <a:xfrm>
              <a:off x="1686205" y="3813850"/>
              <a:ext cx="552316" cy="516668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3" name="Rectangle 13"/>
            <p:cNvSpPr>
              <a:spLocks/>
            </p:cNvSpPr>
            <p:nvPr/>
          </p:nvSpPr>
          <p:spPr bwMode="auto">
            <a:xfrm>
              <a:off x="2345421" y="3813850"/>
              <a:ext cx="552316" cy="516668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4" name="Line 15"/>
            <p:cNvSpPr>
              <a:spLocks noChangeShapeType="1"/>
            </p:cNvSpPr>
            <p:nvPr/>
          </p:nvSpPr>
          <p:spPr bwMode="auto">
            <a:xfrm>
              <a:off x="3357563" y="3427436"/>
              <a:ext cx="2393156" cy="892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5" name="Line 16"/>
            <p:cNvSpPr>
              <a:spLocks noChangeShapeType="1"/>
            </p:cNvSpPr>
            <p:nvPr/>
          </p:nvSpPr>
          <p:spPr bwMode="auto">
            <a:xfrm>
              <a:off x="3357563" y="4052114"/>
              <a:ext cx="2393156" cy="892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3357563" y="2802758"/>
              <a:ext cx="2393156" cy="892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" name="Rectangle 18"/>
            <p:cNvSpPr>
              <a:spLocks/>
            </p:cNvSpPr>
            <p:nvPr/>
          </p:nvSpPr>
          <p:spPr bwMode="auto">
            <a:xfrm>
              <a:off x="3437930" y="2561811"/>
              <a:ext cx="571500" cy="49974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8" name="Rectangle 19"/>
            <p:cNvSpPr>
              <a:spLocks/>
            </p:cNvSpPr>
            <p:nvPr/>
          </p:nvSpPr>
          <p:spPr bwMode="auto">
            <a:xfrm>
              <a:off x="4134445" y="2561811"/>
              <a:ext cx="571500" cy="49974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9" name="Rectangle 20"/>
            <p:cNvSpPr>
              <a:spLocks/>
            </p:cNvSpPr>
            <p:nvPr/>
          </p:nvSpPr>
          <p:spPr bwMode="auto">
            <a:xfrm>
              <a:off x="4822031" y="2561811"/>
              <a:ext cx="580430" cy="49974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0" name="Rectangle 21"/>
            <p:cNvSpPr>
              <a:spLocks/>
            </p:cNvSpPr>
            <p:nvPr/>
          </p:nvSpPr>
          <p:spPr bwMode="auto">
            <a:xfrm>
              <a:off x="3437930" y="3177565"/>
              <a:ext cx="571500" cy="508666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1" name="Rectangle 22"/>
            <p:cNvSpPr>
              <a:spLocks/>
            </p:cNvSpPr>
            <p:nvPr/>
          </p:nvSpPr>
          <p:spPr bwMode="auto">
            <a:xfrm>
              <a:off x="4134445" y="3177565"/>
              <a:ext cx="571500" cy="508666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2" name="Rectangle 23"/>
            <p:cNvSpPr>
              <a:spLocks/>
            </p:cNvSpPr>
            <p:nvPr/>
          </p:nvSpPr>
          <p:spPr bwMode="auto">
            <a:xfrm>
              <a:off x="4822031" y="3177565"/>
              <a:ext cx="580430" cy="508666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3" name="Rectangle 24"/>
            <p:cNvSpPr>
              <a:spLocks/>
            </p:cNvSpPr>
            <p:nvPr/>
          </p:nvSpPr>
          <p:spPr bwMode="auto">
            <a:xfrm>
              <a:off x="3437930" y="3802243"/>
              <a:ext cx="571500" cy="499742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4" name="Rectangle 25"/>
            <p:cNvSpPr>
              <a:spLocks/>
            </p:cNvSpPr>
            <p:nvPr/>
          </p:nvSpPr>
          <p:spPr bwMode="auto">
            <a:xfrm>
              <a:off x="4134445" y="3802243"/>
              <a:ext cx="571500" cy="499742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5" name="Rectangle 26"/>
            <p:cNvSpPr>
              <a:spLocks/>
            </p:cNvSpPr>
            <p:nvPr/>
          </p:nvSpPr>
          <p:spPr bwMode="auto">
            <a:xfrm>
              <a:off x="4822031" y="3802243"/>
              <a:ext cx="580430" cy="499742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6" name="Rectangle 27"/>
            <p:cNvSpPr>
              <a:spLocks/>
            </p:cNvSpPr>
            <p:nvPr/>
          </p:nvSpPr>
          <p:spPr bwMode="auto">
            <a:xfrm>
              <a:off x="-222490" y="1823994"/>
              <a:ext cx="3671162" cy="476622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        Country      A         </a:t>
              </a:r>
              <a:r>
                <a:rPr lang="en-US" sz="1700" b="1" dirty="0" smtClean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B          </a:t>
              </a: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C</a:t>
              </a:r>
            </a:p>
          </p:txBody>
        </p:sp>
        <p:sp>
          <p:nvSpPr>
            <p:cNvPr id="27" name="Rectangle 28"/>
            <p:cNvSpPr>
              <a:spLocks/>
            </p:cNvSpPr>
            <p:nvPr/>
          </p:nvSpPr>
          <p:spPr bwMode="auto">
            <a:xfrm>
              <a:off x="166894" y="2604869"/>
              <a:ext cx="1369252" cy="476622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Public</a:t>
              </a:r>
            </a:p>
          </p:txBody>
        </p:sp>
        <p:sp>
          <p:nvSpPr>
            <p:cNvPr id="28" name="Rectangle 29"/>
            <p:cNvSpPr>
              <a:spLocks/>
            </p:cNvSpPr>
            <p:nvPr/>
          </p:nvSpPr>
          <p:spPr bwMode="auto">
            <a:xfrm>
              <a:off x="166893" y="3934276"/>
              <a:ext cx="1187648" cy="477738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People</a:t>
              </a:r>
            </a:p>
          </p:txBody>
        </p:sp>
        <p:sp>
          <p:nvSpPr>
            <p:cNvPr id="29" name="Rectangle 30"/>
            <p:cNvSpPr>
              <a:spLocks/>
            </p:cNvSpPr>
            <p:nvPr/>
          </p:nvSpPr>
          <p:spPr bwMode="auto">
            <a:xfrm>
              <a:off x="166894" y="3279060"/>
              <a:ext cx="1580555" cy="477738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Private</a:t>
              </a:r>
            </a:p>
          </p:txBody>
        </p:sp>
      </p:grpSp>
      <p:sp>
        <p:nvSpPr>
          <p:cNvPr id="30" name="Rectangle 31"/>
          <p:cNvSpPr>
            <a:spLocks/>
          </p:cNvSpPr>
          <p:nvPr/>
        </p:nvSpPr>
        <p:spPr bwMode="auto">
          <a:xfrm>
            <a:off x="1741950" y="3966750"/>
            <a:ext cx="2471290" cy="464344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9261" tIns="44631" rIns="89261" bIns="44631"/>
          <a:lstStyle/>
          <a:p>
            <a:pPr algn="ctr" defTabSz="408372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lid Phase Locality</a:t>
            </a:r>
          </a:p>
        </p:txBody>
      </p:sp>
      <p:sp>
        <p:nvSpPr>
          <p:cNvPr id="31" name="Rectangle 32"/>
          <p:cNvSpPr>
            <a:spLocks/>
          </p:cNvSpPr>
          <p:nvPr/>
        </p:nvSpPr>
        <p:spPr bwMode="auto">
          <a:xfrm>
            <a:off x="7503833" y="4054933"/>
            <a:ext cx="2767911" cy="446484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9261" tIns="44631" rIns="89261" bIns="44631"/>
          <a:lstStyle/>
          <a:p>
            <a:pPr algn="ctr" defTabSz="408372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Liquid Phase </a:t>
            </a:r>
            <a:r>
              <a:rPr lang="en-US" b="1" dirty="0" err="1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lobality</a:t>
            </a:r>
            <a:endParaRPr lang="en-US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2" name="Line 33"/>
          <p:cNvSpPr>
            <a:spLocks noChangeShapeType="1"/>
          </p:cNvSpPr>
          <p:nvPr/>
        </p:nvSpPr>
        <p:spPr bwMode="auto">
          <a:xfrm>
            <a:off x="4242956" y="4450785"/>
            <a:ext cx="2991445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 type="stealth" w="med" len="med"/>
          </a:ln>
        </p:spPr>
        <p:txBody>
          <a:bodyPr lIns="64267" tIns="32133" rIns="64267" bIns="32133"/>
          <a:lstStyle/>
          <a:p>
            <a:pPr algn="ctr" defTabSz="410604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grpSp>
        <p:nvGrpSpPr>
          <p:cNvPr id="181" name="Group 180"/>
          <p:cNvGrpSpPr/>
          <p:nvPr/>
        </p:nvGrpSpPr>
        <p:grpSpPr>
          <a:xfrm>
            <a:off x="7204038" y="1229214"/>
            <a:ext cx="2863344" cy="2746692"/>
            <a:chOff x="6040288" y="1977339"/>
            <a:chExt cx="2863344" cy="2746692"/>
          </a:xfrm>
        </p:grpSpPr>
        <p:grpSp>
          <p:nvGrpSpPr>
            <p:cNvPr id="34" name="Group 111"/>
            <p:cNvGrpSpPr/>
            <p:nvPr/>
          </p:nvGrpSpPr>
          <p:grpSpPr>
            <a:xfrm>
              <a:off x="6040288" y="1977339"/>
              <a:ext cx="2863344" cy="2746692"/>
              <a:chOff x="205489" y="1076202"/>
              <a:chExt cx="4926113" cy="3662258"/>
            </a:xfrm>
          </p:grpSpPr>
          <p:grpSp>
            <p:nvGrpSpPr>
              <p:cNvPr id="35" name="Group 117"/>
              <p:cNvGrpSpPr/>
              <p:nvPr/>
            </p:nvGrpSpPr>
            <p:grpSpPr>
              <a:xfrm rot="19209695">
                <a:off x="1269522" y="1076202"/>
                <a:ext cx="2312752" cy="1925731"/>
                <a:chOff x="8644379" y="1065229"/>
                <a:chExt cx="3252248" cy="4008814"/>
              </a:xfrm>
            </p:grpSpPr>
            <p:sp>
              <p:nvSpPr>
                <p:cNvPr id="138" name="Isosceles Triangle 220"/>
                <p:cNvSpPr/>
                <p:nvPr/>
              </p:nvSpPr>
              <p:spPr>
                <a:xfrm>
                  <a:off x="10343364" y="1969291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39" name="Isosceles Triangle 221"/>
                <p:cNvSpPr/>
                <p:nvPr/>
              </p:nvSpPr>
              <p:spPr>
                <a:xfrm>
                  <a:off x="9402128" y="1999578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0" name="Isosceles Triangle 222"/>
                <p:cNvSpPr/>
                <p:nvPr/>
              </p:nvSpPr>
              <p:spPr>
                <a:xfrm>
                  <a:off x="9369762" y="3161904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1" name="Isosceles Triangle 223"/>
                <p:cNvSpPr/>
                <p:nvPr/>
              </p:nvSpPr>
              <p:spPr>
                <a:xfrm>
                  <a:off x="8922285" y="2580113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2" name="Isosceles Triangle 224"/>
                <p:cNvSpPr/>
                <p:nvPr/>
              </p:nvSpPr>
              <p:spPr>
                <a:xfrm>
                  <a:off x="9853171" y="1369752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3" name="Isosceles Triangle 225"/>
                <p:cNvSpPr/>
                <p:nvPr/>
              </p:nvSpPr>
              <p:spPr>
                <a:xfrm>
                  <a:off x="9857792" y="3742439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44" name="Straight Connector 226"/>
                <p:cNvCxnSpPr>
                  <a:stCxn id="138" idx="2"/>
                  <a:endCxn id="140" idx="4"/>
                </p:cNvCxnSpPr>
                <p:nvPr/>
              </p:nvCxnSpPr>
              <p:spPr>
                <a:xfrm>
                  <a:off x="10343364" y="2580113"/>
                  <a:ext cx="6785" cy="11926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5" name="Rectangle 227"/>
                <p:cNvSpPr/>
                <p:nvPr/>
              </p:nvSpPr>
              <p:spPr>
                <a:xfrm>
                  <a:off x="10343364" y="2600973"/>
                  <a:ext cx="973602" cy="686501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46" name="Straight Connector 228"/>
                <p:cNvCxnSpPr>
                  <a:endCxn id="143" idx="0"/>
                </p:cNvCxnSpPr>
                <p:nvPr/>
              </p:nvCxnSpPr>
              <p:spPr>
                <a:xfrm flipH="1">
                  <a:off x="10347986" y="3296901"/>
                  <a:ext cx="968980" cy="4455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Straight Arrow Connector 229"/>
                <p:cNvCxnSpPr>
                  <a:stCxn id="140" idx="0"/>
                </p:cNvCxnSpPr>
                <p:nvPr/>
              </p:nvCxnSpPr>
              <p:spPr>
                <a:xfrm>
                  <a:off x="9859956" y="3161904"/>
                  <a:ext cx="522559" cy="15069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Straight Connector 230"/>
                <p:cNvCxnSpPr>
                  <a:stCxn id="140" idx="2"/>
                </p:cNvCxnSpPr>
                <p:nvPr/>
              </p:nvCxnSpPr>
              <p:spPr>
                <a:xfrm>
                  <a:off x="9369762" y="3772726"/>
                  <a:ext cx="0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231"/>
                <p:cNvCxnSpPr>
                  <a:endCxn id="143" idx="2"/>
                </p:cNvCxnSpPr>
                <p:nvPr/>
              </p:nvCxnSpPr>
              <p:spPr>
                <a:xfrm flipV="1">
                  <a:off x="9369762" y="4353261"/>
                  <a:ext cx="488030" cy="16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Straight Connector 232"/>
                <p:cNvCxnSpPr>
                  <a:stCxn id="139" idx="4"/>
                </p:cNvCxnSpPr>
                <p:nvPr/>
              </p:nvCxnSpPr>
              <p:spPr>
                <a:xfrm>
                  <a:off x="10382515" y="2610400"/>
                  <a:ext cx="941236" cy="67024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Straight Connector 233"/>
                <p:cNvCxnSpPr>
                  <a:stCxn id="141" idx="2"/>
                </p:cNvCxnSpPr>
                <p:nvPr/>
              </p:nvCxnSpPr>
              <p:spPr>
                <a:xfrm flipH="1" flipV="1">
                  <a:off x="8776355" y="2343645"/>
                  <a:ext cx="145930" cy="84729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traight Connector 234"/>
                <p:cNvCxnSpPr/>
                <p:nvPr/>
              </p:nvCxnSpPr>
              <p:spPr>
                <a:xfrm flipV="1">
                  <a:off x="8762945" y="2148024"/>
                  <a:ext cx="432091" cy="19562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traight Connector 235"/>
                <p:cNvCxnSpPr>
                  <a:endCxn id="139" idx="2"/>
                </p:cNvCxnSpPr>
                <p:nvPr/>
              </p:nvCxnSpPr>
              <p:spPr>
                <a:xfrm>
                  <a:off x="9219414" y="2148024"/>
                  <a:ext cx="182714" cy="46237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traight Connector 236"/>
                <p:cNvCxnSpPr/>
                <p:nvPr/>
              </p:nvCxnSpPr>
              <p:spPr>
                <a:xfrm flipV="1">
                  <a:off x="9200560" y="1783824"/>
                  <a:ext cx="0" cy="34723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Straight Connector 237"/>
                <p:cNvCxnSpPr>
                  <a:endCxn id="142" idx="2"/>
                </p:cNvCxnSpPr>
                <p:nvPr/>
              </p:nvCxnSpPr>
              <p:spPr>
                <a:xfrm>
                  <a:off x="9216115" y="1822164"/>
                  <a:ext cx="637056" cy="15841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Straight Connector 238"/>
                <p:cNvCxnSpPr/>
                <p:nvPr/>
              </p:nvCxnSpPr>
              <p:spPr>
                <a:xfrm>
                  <a:off x="9012025" y="1369752"/>
                  <a:ext cx="204090" cy="45241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239"/>
                <p:cNvCxnSpPr/>
                <p:nvPr/>
              </p:nvCxnSpPr>
              <p:spPr>
                <a:xfrm flipV="1">
                  <a:off x="9040305" y="1074656"/>
                  <a:ext cx="537328" cy="2950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traight Connector 240"/>
                <p:cNvCxnSpPr>
                  <a:endCxn id="142" idx="0"/>
                </p:cNvCxnSpPr>
                <p:nvPr/>
              </p:nvCxnSpPr>
              <p:spPr>
                <a:xfrm>
                  <a:off x="9577633" y="1065229"/>
                  <a:ext cx="765732" cy="30452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Straight Connector 241"/>
                <p:cNvCxnSpPr>
                  <a:stCxn id="141" idx="2"/>
                </p:cNvCxnSpPr>
                <p:nvPr/>
              </p:nvCxnSpPr>
              <p:spPr>
                <a:xfrm flipH="1">
                  <a:off x="8644379" y="3190935"/>
                  <a:ext cx="277906" cy="12393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traight Connector 242"/>
                <p:cNvCxnSpPr/>
                <p:nvPr/>
              </p:nvCxnSpPr>
              <p:spPr>
                <a:xfrm>
                  <a:off x="8670036" y="3314871"/>
                  <a:ext cx="31110" cy="5253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Straight Connector 243"/>
                <p:cNvCxnSpPr>
                  <a:endCxn id="140" idx="2"/>
                </p:cNvCxnSpPr>
                <p:nvPr/>
              </p:nvCxnSpPr>
              <p:spPr>
                <a:xfrm flipV="1">
                  <a:off x="8670036" y="3772726"/>
                  <a:ext cx="699726" cy="674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244"/>
                <p:cNvCxnSpPr/>
                <p:nvPr/>
              </p:nvCxnSpPr>
              <p:spPr>
                <a:xfrm>
                  <a:off x="11316966" y="3314871"/>
                  <a:ext cx="579661" cy="35647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245"/>
                <p:cNvCxnSpPr>
                  <a:stCxn id="143" idx="4"/>
                </p:cNvCxnSpPr>
                <p:nvPr/>
              </p:nvCxnSpPr>
              <p:spPr>
                <a:xfrm flipV="1">
                  <a:off x="10838179" y="3869612"/>
                  <a:ext cx="478787" cy="48364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246"/>
                <p:cNvCxnSpPr/>
                <p:nvPr/>
              </p:nvCxnSpPr>
              <p:spPr>
                <a:xfrm>
                  <a:off x="11323751" y="3296901"/>
                  <a:ext cx="0" cy="5420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247"/>
                <p:cNvCxnSpPr/>
                <p:nvPr/>
              </p:nvCxnSpPr>
              <p:spPr>
                <a:xfrm>
                  <a:off x="9402128" y="4369502"/>
                  <a:ext cx="500544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248"/>
                <p:cNvCxnSpPr>
                  <a:endCxn id="143" idx="2"/>
                </p:cNvCxnSpPr>
                <p:nvPr/>
              </p:nvCxnSpPr>
              <p:spPr>
                <a:xfrm flipH="1" flipV="1">
                  <a:off x="9857792" y="4353261"/>
                  <a:ext cx="34529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" name="Straight Connector 249"/>
                <p:cNvCxnSpPr/>
                <p:nvPr/>
              </p:nvCxnSpPr>
              <p:spPr>
                <a:xfrm>
                  <a:off x="9826682" y="4933796"/>
                  <a:ext cx="852228" cy="13266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" name="Straight Connector 250"/>
                <p:cNvCxnSpPr>
                  <a:stCxn id="143" idx="4"/>
                </p:cNvCxnSpPr>
                <p:nvPr/>
              </p:nvCxnSpPr>
              <p:spPr>
                <a:xfrm flipH="1">
                  <a:off x="10683399" y="4353261"/>
                  <a:ext cx="154780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Straight Connector 251"/>
                <p:cNvCxnSpPr/>
                <p:nvPr/>
              </p:nvCxnSpPr>
              <p:spPr>
                <a:xfrm flipH="1">
                  <a:off x="11717518" y="3671346"/>
                  <a:ext cx="179109" cy="69815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Straight Connector 252"/>
                <p:cNvCxnSpPr/>
                <p:nvPr/>
              </p:nvCxnSpPr>
              <p:spPr>
                <a:xfrm>
                  <a:off x="11345247" y="3838978"/>
                  <a:ext cx="400552" cy="5142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Straight Connector 253"/>
                <p:cNvCxnSpPr/>
                <p:nvPr/>
              </p:nvCxnSpPr>
              <p:spPr>
                <a:xfrm flipV="1">
                  <a:off x="10652289" y="4353261"/>
                  <a:ext cx="1065229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" name="Group 118"/>
              <p:cNvGrpSpPr/>
              <p:nvPr/>
            </p:nvGrpSpPr>
            <p:grpSpPr>
              <a:xfrm rot="19209695">
                <a:off x="205489" y="2812729"/>
                <a:ext cx="2312752" cy="1925731"/>
                <a:chOff x="8644379" y="1065229"/>
                <a:chExt cx="3252248" cy="4008814"/>
              </a:xfrm>
            </p:grpSpPr>
            <p:sp>
              <p:nvSpPr>
                <p:cNvPr id="104" name="Isosceles Triangle 186"/>
                <p:cNvSpPr/>
                <p:nvPr/>
              </p:nvSpPr>
              <p:spPr>
                <a:xfrm>
                  <a:off x="10343364" y="1969291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5" name="Isosceles Triangle 187"/>
                <p:cNvSpPr/>
                <p:nvPr/>
              </p:nvSpPr>
              <p:spPr>
                <a:xfrm>
                  <a:off x="9402128" y="1999578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6" name="Isosceles Triangle 188"/>
                <p:cNvSpPr/>
                <p:nvPr/>
              </p:nvSpPr>
              <p:spPr>
                <a:xfrm>
                  <a:off x="9369762" y="3161904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7" name="Isosceles Triangle 189"/>
                <p:cNvSpPr/>
                <p:nvPr/>
              </p:nvSpPr>
              <p:spPr>
                <a:xfrm>
                  <a:off x="8922285" y="2580113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8" name="Isosceles Triangle 190"/>
                <p:cNvSpPr/>
                <p:nvPr/>
              </p:nvSpPr>
              <p:spPr>
                <a:xfrm>
                  <a:off x="9853171" y="1369752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9" name="Isosceles Triangle 191"/>
                <p:cNvSpPr/>
                <p:nvPr/>
              </p:nvSpPr>
              <p:spPr>
                <a:xfrm>
                  <a:off x="9857792" y="3742439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10" name="Straight Connector 192"/>
                <p:cNvCxnSpPr>
                  <a:stCxn id="104" idx="2"/>
                  <a:endCxn id="106" idx="4"/>
                </p:cNvCxnSpPr>
                <p:nvPr/>
              </p:nvCxnSpPr>
              <p:spPr>
                <a:xfrm>
                  <a:off x="10343364" y="2580113"/>
                  <a:ext cx="6785" cy="11926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Rectangle 193"/>
                <p:cNvSpPr/>
                <p:nvPr/>
              </p:nvSpPr>
              <p:spPr>
                <a:xfrm>
                  <a:off x="10343364" y="2600973"/>
                  <a:ext cx="973602" cy="686501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12" name="Straight Connector 194"/>
                <p:cNvCxnSpPr>
                  <a:endCxn id="109" idx="0"/>
                </p:cNvCxnSpPr>
                <p:nvPr/>
              </p:nvCxnSpPr>
              <p:spPr>
                <a:xfrm flipH="1">
                  <a:off x="10347986" y="3296901"/>
                  <a:ext cx="968980" cy="4455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Arrow Connector 195"/>
                <p:cNvCxnSpPr>
                  <a:stCxn id="106" idx="0"/>
                </p:cNvCxnSpPr>
                <p:nvPr/>
              </p:nvCxnSpPr>
              <p:spPr>
                <a:xfrm>
                  <a:off x="9859956" y="3161904"/>
                  <a:ext cx="522559" cy="15069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Straight Connector 196"/>
                <p:cNvCxnSpPr>
                  <a:stCxn id="106" idx="2"/>
                </p:cNvCxnSpPr>
                <p:nvPr/>
              </p:nvCxnSpPr>
              <p:spPr>
                <a:xfrm>
                  <a:off x="9369762" y="3772726"/>
                  <a:ext cx="0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Straight Connector 197"/>
                <p:cNvCxnSpPr>
                  <a:endCxn id="109" idx="2"/>
                </p:cNvCxnSpPr>
                <p:nvPr/>
              </p:nvCxnSpPr>
              <p:spPr>
                <a:xfrm flipV="1">
                  <a:off x="9369762" y="4353261"/>
                  <a:ext cx="488030" cy="16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Straight Connector 198"/>
                <p:cNvCxnSpPr>
                  <a:stCxn id="105" idx="4"/>
                </p:cNvCxnSpPr>
                <p:nvPr/>
              </p:nvCxnSpPr>
              <p:spPr>
                <a:xfrm>
                  <a:off x="10382515" y="2610400"/>
                  <a:ext cx="941236" cy="67024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Straight Connector 199"/>
                <p:cNvCxnSpPr>
                  <a:stCxn id="107" idx="2"/>
                </p:cNvCxnSpPr>
                <p:nvPr/>
              </p:nvCxnSpPr>
              <p:spPr>
                <a:xfrm flipH="1" flipV="1">
                  <a:off x="8776355" y="2343645"/>
                  <a:ext cx="145930" cy="84729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200"/>
                <p:cNvCxnSpPr/>
                <p:nvPr/>
              </p:nvCxnSpPr>
              <p:spPr>
                <a:xfrm flipV="1">
                  <a:off x="8762945" y="2148024"/>
                  <a:ext cx="432091" cy="19562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201"/>
                <p:cNvCxnSpPr>
                  <a:endCxn id="105" idx="2"/>
                </p:cNvCxnSpPr>
                <p:nvPr/>
              </p:nvCxnSpPr>
              <p:spPr>
                <a:xfrm>
                  <a:off x="9219414" y="2148024"/>
                  <a:ext cx="182714" cy="46237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Straight Connector 202"/>
                <p:cNvCxnSpPr/>
                <p:nvPr/>
              </p:nvCxnSpPr>
              <p:spPr>
                <a:xfrm flipV="1">
                  <a:off x="9200560" y="1783824"/>
                  <a:ext cx="0" cy="34723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203"/>
                <p:cNvCxnSpPr>
                  <a:endCxn id="108" idx="2"/>
                </p:cNvCxnSpPr>
                <p:nvPr/>
              </p:nvCxnSpPr>
              <p:spPr>
                <a:xfrm>
                  <a:off x="9216115" y="1822164"/>
                  <a:ext cx="637056" cy="15841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Straight Connector 204"/>
                <p:cNvCxnSpPr/>
                <p:nvPr/>
              </p:nvCxnSpPr>
              <p:spPr>
                <a:xfrm>
                  <a:off x="9012025" y="1369752"/>
                  <a:ext cx="204090" cy="45241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205"/>
                <p:cNvCxnSpPr/>
                <p:nvPr/>
              </p:nvCxnSpPr>
              <p:spPr>
                <a:xfrm flipV="1">
                  <a:off x="9040305" y="1074656"/>
                  <a:ext cx="537328" cy="2950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206"/>
                <p:cNvCxnSpPr>
                  <a:endCxn id="108" idx="0"/>
                </p:cNvCxnSpPr>
                <p:nvPr/>
              </p:nvCxnSpPr>
              <p:spPr>
                <a:xfrm>
                  <a:off x="9577633" y="1065229"/>
                  <a:ext cx="765732" cy="30452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207"/>
                <p:cNvCxnSpPr>
                  <a:stCxn id="107" idx="2"/>
                </p:cNvCxnSpPr>
                <p:nvPr/>
              </p:nvCxnSpPr>
              <p:spPr>
                <a:xfrm flipH="1">
                  <a:off x="8644379" y="3190935"/>
                  <a:ext cx="277906" cy="12393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Straight Connector 208"/>
                <p:cNvCxnSpPr/>
                <p:nvPr/>
              </p:nvCxnSpPr>
              <p:spPr>
                <a:xfrm>
                  <a:off x="8670036" y="3314871"/>
                  <a:ext cx="31110" cy="5253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Straight Connector 209"/>
                <p:cNvCxnSpPr>
                  <a:endCxn id="106" idx="2"/>
                </p:cNvCxnSpPr>
                <p:nvPr/>
              </p:nvCxnSpPr>
              <p:spPr>
                <a:xfrm flipV="1">
                  <a:off x="8670036" y="3772726"/>
                  <a:ext cx="699726" cy="674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210"/>
                <p:cNvCxnSpPr/>
                <p:nvPr/>
              </p:nvCxnSpPr>
              <p:spPr>
                <a:xfrm>
                  <a:off x="11316966" y="3314871"/>
                  <a:ext cx="579661" cy="35647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211"/>
                <p:cNvCxnSpPr>
                  <a:stCxn id="109" idx="4"/>
                </p:cNvCxnSpPr>
                <p:nvPr/>
              </p:nvCxnSpPr>
              <p:spPr>
                <a:xfrm flipV="1">
                  <a:off x="10838179" y="3869612"/>
                  <a:ext cx="478787" cy="48364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212"/>
                <p:cNvCxnSpPr/>
                <p:nvPr/>
              </p:nvCxnSpPr>
              <p:spPr>
                <a:xfrm>
                  <a:off x="11323751" y="3296901"/>
                  <a:ext cx="0" cy="5420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213"/>
                <p:cNvCxnSpPr/>
                <p:nvPr/>
              </p:nvCxnSpPr>
              <p:spPr>
                <a:xfrm>
                  <a:off x="9402128" y="4369502"/>
                  <a:ext cx="500544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214"/>
                <p:cNvCxnSpPr>
                  <a:endCxn id="109" idx="2"/>
                </p:cNvCxnSpPr>
                <p:nvPr/>
              </p:nvCxnSpPr>
              <p:spPr>
                <a:xfrm flipH="1" flipV="1">
                  <a:off x="9857792" y="4353261"/>
                  <a:ext cx="34529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215"/>
                <p:cNvCxnSpPr/>
                <p:nvPr/>
              </p:nvCxnSpPr>
              <p:spPr>
                <a:xfrm>
                  <a:off x="9826682" y="4933796"/>
                  <a:ext cx="852228" cy="13266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Connector 216"/>
                <p:cNvCxnSpPr>
                  <a:stCxn id="109" idx="4"/>
                </p:cNvCxnSpPr>
                <p:nvPr/>
              </p:nvCxnSpPr>
              <p:spPr>
                <a:xfrm flipH="1">
                  <a:off x="10683399" y="4353261"/>
                  <a:ext cx="154780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Straight Connector 217"/>
                <p:cNvCxnSpPr/>
                <p:nvPr/>
              </p:nvCxnSpPr>
              <p:spPr>
                <a:xfrm flipH="1">
                  <a:off x="11717518" y="3671346"/>
                  <a:ext cx="179109" cy="69815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218"/>
                <p:cNvCxnSpPr/>
                <p:nvPr/>
              </p:nvCxnSpPr>
              <p:spPr>
                <a:xfrm>
                  <a:off x="11345247" y="3838978"/>
                  <a:ext cx="400552" cy="5142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219"/>
                <p:cNvCxnSpPr/>
                <p:nvPr/>
              </p:nvCxnSpPr>
              <p:spPr>
                <a:xfrm flipV="1">
                  <a:off x="10652289" y="4353261"/>
                  <a:ext cx="1065229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7" name="Group 119"/>
              <p:cNvGrpSpPr/>
              <p:nvPr/>
            </p:nvGrpSpPr>
            <p:grpSpPr>
              <a:xfrm rot="19209695">
                <a:off x="2818850" y="2559880"/>
                <a:ext cx="2312752" cy="1925731"/>
                <a:chOff x="8644379" y="1065229"/>
                <a:chExt cx="3252248" cy="4008814"/>
              </a:xfrm>
            </p:grpSpPr>
            <p:sp>
              <p:nvSpPr>
                <p:cNvPr id="70" name="Isosceles Triangle 152"/>
                <p:cNvSpPr/>
                <p:nvPr/>
              </p:nvSpPr>
              <p:spPr>
                <a:xfrm>
                  <a:off x="10343364" y="1969291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1" name="Isosceles Triangle 153"/>
                <p:cNvSpPr/>
                <p:nvPr/>
              </p:nvSpPr>
              <p:spPr>
                <a:xfrm>
                  <a:off x="9402128" y="1999578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2" name="Isosceles Triangle 154"/>
                <p:cNvSpPr/>
                <p:nvPr/>
              </p:nvSpPr>
              <p:spPr>
                <a:xfrm>
                  <a:off x="9369762" y="3161904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3" name="Isosceles Triangle 155"/>
                <p:cNvSpPr/>
                <p:nvPr/>
              </p:nvSpPr>
              <p:spPr>
                <a:xfrm>
                  <a:off x="8922285" y="2580113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4" name="Isosceles Triangle 156"/>
                <p:cNvSpPr/>
                <p:nvPr/>
              </p:nvSpPr>
              <p:spPr>
                <a:xfrm>
                  <a:off x="9853171" y="1369752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5" name="Isosceles Triangle 157"/>
                <p:cNvSpPr/>
                <p:nvPr/>
              </p:nvSpPr>
              <p:spPr>
                <a:xfrm>
                  <a:off x="9857792" y="3742439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76" name="Straight Connector 158"/>
                <p:cNvCxnSpPr>
                  <a:stCxn id="70" idx="2"/>
                  <a:endCxn id="72" idx="4"/>
                </p:cNvCxnSpPr>
                <p:nvPr/>
              </p:nvCxnSpPr>
              <p:spPr>
                <a:xfrm>
                  <a:off x="10343364" y="2580113"/>
                  <a:ext cx="6785" cy="11926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Rectangle 159"/>
                <p:cNvSpPr/>
                <p:nvPr/>
              </p:nvSpPr>
              <p:spPr>
                <a:xfrm>
                  <a:off x="10343364" y="2600973"/>
                  <a:ext cx="973602" cy="686501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78" name="Straight Connector 160"/>
                <p:cNvCxnSpPr>
                  <a:endCxn id="75" idx="0"/>
                </p:cNvCxnSpPr>
                <p:nvPr/>
              </p:nvCxnSpPr>
              <p:spPr>
                <a:xfrm flipH="1">
                  <a:off x="10347986" y="3296901"/>
                  <a:ext cx="968980" cy="4455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Arrow Connector 161"/>
                <p:cNvCxnSpPr>
                  <a:stCxn id="72" idx="0"/>
                </p:cNvCxnSpPr>
                <p:nvPr/>
              </p:nvCxnSpPr>
              <p:spPr>
                <a:xfrm>
                  <a:off x="9859956" y="3161904"/>
                  <a:ext cx="522559" cy="15069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162"/>
                <p:cNvCxnSpPr>
                  <a:stCxn id="72" idx="2"/>
                </p:cNvCxnSpPr>
                <p:nvPr/>
              </p:nvCxnSpPr>
              <p:spPr>
                <a:xfrm>
                  <a:off x="9369762" y="3772726"/>
                  <a:ext cx="0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163"/>
                <p:cNvCxnSpPr>
                  <a:endCxn id="75" idx="2"/>
                </p:cNvCxnSpPr>
                <p:nvPr/>
              </p:nvCxnSpPr>
              <p:spPr>
                <a:xfrm flipV="1">
                  <a:off x="9369762" y="4353261"/>
                  <a:ext cx="488030" cy="16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Connector 164"/>
                <p:cNvCxnSpPr>
                  <a:stCxn id="71" idx="4"/>
                </p:cNvCxnSpPr>
                <p:nvPr/>
              </p:nvCxnSpPr>
              <p:spPr>
                <a:xfrm>
                  <a:off x="10382515" y="2610400"/>
                  <a:ext cx="941236" cy="67024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165"/>
                <p:cNvCxnSpPr>
                  <a:stCxn id="73" idx="2"/>
                </p:cNvCxnSpPr>
                <p:nvPr/>
              </p:nvCxnSpPr>
              <p:spPr>
                <a:xfrm flipH="1" flipV="1">
                  <a:off x="8776355" y="2343645"/>
                  <a:ext cx="145930" cy="84729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166"/>
                <p:cNvCxnSpPr/>
                <p:nvPr/>
              </p:nvCxnSpPr>
              <p:spPr>
                <a:xfrm flipV="1">
                  <a:off x="8762945" y="2148024"/>
                  <a:ext cx="432091" cy="19562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167"/>
                <p:cNvCxnSpPr>
                  <a:endCxn id="71" idx="2"/>
                </p:cNvCxnSpPr>
                <p:nvPr/>
              </p:nvCxnSpPr>
              <p:spPr>
                <a:xfrm>
                  <a:off x="9219414" y="2148024"/>
                  <a:ext cx="182714" cy="46237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168"/>
                <p:cNvCxnSpPr/>
                <p:nvPr/>
              </p:nvCxnSpPr>
              <p:spPr>
                <a:xfrm flipV="1">
                  <a:off x="9200560" y="1783824"/>
                  <a:ext cx="0" cy="34723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169"/>
                <p:cNvCxnSpPr>
                  <a:endCxn id="74" idx="2"/>
                </p:cNvCxnSpPr>
                <p:nvPr/>
              </p:nvCxnSpPr>
              <p:spPr>
                <a:xfrm>
                  <a:off x="9216115" y="1822164"/>
                  <a:ext cx="637056" cy="15841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170"/>
                <p:cNvCxnSpPr/>
                <p:nvPr/>
              </p:nvCxnSpPr>
              <p:spPr>
                <a:xfrm>
                  <a:off x="9012025" y="1369752"/>
                  <a:ext cx="204090" cy="45241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171"/>
                <p:cNvCxnSpPr/>
                <p:nvPr/>
              </p:nvCxnSpPr>
              <p:spPr>
                <a:xfrm flipV="1">
                  <a:off x="9040305" y="1074656"/>
                  <a:ext cx="537328" cy="2950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Connector 172"/>
                <p:cNvCxnSpPr>
                  <a:endCxn id="74" idx="0"/>
                </p:cNvCxnSpPr>
                <p:nvPr/>
              </p:nvCxnSpPr>
              <p:spPr>
                <a:xfrm>
                  <a:off x="9577633" y="1065229"/>
                  <a:ext cx="765732" cy="30452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173"/>
                <p:cNvCxnSpPr>
                  <a:stCxn id="73" idx="2"/>
                </p:cNvCxnSpPr>
                <p:nvPr/>
              </p:nvCxnSpPr>
              <p:spPr>
                <a:xfrm flipH="1">
                  <a:off x="8644379" y="3190935"/>
                  <a:ext cx="277906" cy="12393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174"/>
                <p:cNvCxnSpPr/>
                <p:nvPr/>
              </p:nvCxnSpPr>
              <p:spPr>
                <a:xfrm>
                  <a:off x="8670036" y="3314871"/>
                  <a:ext cx="31110" cy="5253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175"/>
                <p:cNvCxnSpPr>
                  <a:endCxn id="72" idx="2"/>
                </p:cNvCxnSpPr>
                <p:nvPr/>
              </p:nvCxnSpPr>
              <p:spPr>
                <a:xfrm flipV="1">
                  <a:off x="8670036" y="3772726"/>
                  <a:ext cx="699726" cy="674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176"/>
                <p:cNvCxnSpPr/>
                <p:nvPr/>
              </p:nvCxnSpPr>
              <p:spPr>
                <a:xfrm>
                  <a:off x="11316966" y="3314871"/>
                  <a:ext cx="579661" cy="35647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177"/>
                <p:cNvCxnSpPr>
                  <a:stCxn id="75" idx="4"/>
                </p:cNvCxnSpPr>
                <p:nvPr/>
              </p:nvCxnSpPr>
              <p:spPr>
                <a:xfrm flipV="1">
                  <a:off x="10838179" y="3869612"/>
                  <a:ext cx="478787" cy="48364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178"/>
                <p:cNvCxnSpPr/>
                <p:nvPr/>
              </p:nvCxnSpPr>
              <p:spPr>
                <a:xfrm>
                  <a:off x="11323751" y="3296901"/>
                  <a:ext cx="0" cy="5420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179"/>
                <p:cNvCxnSpPr/>
                <p:nvPr/>
              </p:nvCxnSpPr>
              <p:spPr>
                <a:xfrm>
                  <a:off x="9402128" y="4369502"/>
                  <a:ext cx="500544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180"/>
                <p:cNvCxnSpPr>
                  <a:endCxn id="75" idx="2"/>
                </p:cNvCxnSpPr>
                <p:nvPr/>
              </p:nvCxnSpPr>
              <p:spPr>
                <a:xfrm flipH="1" flipV="1">
                  <a:off x="9857792" y="4353261"/>
                  <a:ext cx="34529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181"/>
                <p:cNvCxnSpPr/>
                <p:nvPr/>
              </p:nvCxnSpPr>
              <p:spPr>
                <a:xfrm>
                  <a:off x="9826682" y="4933796"/>
                  <a:ext cx="852228" cy="13266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182"/>
                <p:cNvCxnSpPr>
                  <a:stCxn id="75" idx="4"/>
                </p:cNvCxnSpPr>
                <p:nvPr/>
              </p:nvCxnSpPr>
              <p:spPr>
                <a:xfrm flipH="1">
                  <a:off x="10683399" y="4353261"/>
                  <a:ext cx="154780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83"/>
                <p:cNvCxnSpPr/>
                <p:nvPr/>
              </p:nvCxnSpPr>
              <p:spPr>
                <a:xfrm flipH="1">
                  <a:off x="11717518" y="3671346"/>
                  <a:ext cx="179109" cy="69815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84"/>
                <p:cNvCxnSpPr/>
                <p:nvPr/>
              </p:nvCxnSpPr>
              <p:spPr>
                <a:xfrm>
                  <a:off x="11345247" y="3838978"/>
                  <a:ext cx="400552" cy="5142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85"/>
                <p:cNvCxnSpPr/>
                <p:nvPr/>
              </p:nvCxnSpPr>
              <p:spPr>
                <a:xfrm flipV="1">
                  <a:off x="10652289" y="4353261"/>
                  <a:ext cx="1065229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8" name="Straight Connector 120"/>
              <p:cNvCxnSpPr>
                <a:stCxn id="141" idx="2"/>
                <a:endCxn id="104" idx="0"/>
              </p:cNvCxnSpPr>
              <p:nvPr/>
            </p:nvCxnSpPr>
            <p:spPr>
              <a:xfrm flipH="1">
                <a:off x="1330696" y="2698009"/>
                <a:ext cx="396350" cy="41520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121"/>
              <p:cNvCxnSpPr>
                <a:endCxn id="108" idx="0"/>
              </p:cNvCxnSpPr>
              <p:nvPr/>
            </p:nvCxnSpPr>
            <p:spPr>
              <a:xfrm flipH="1">
                <a:off x="878529" y="2065871"/>
                <a:ext cx="567442" cy="1049515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122"/>
              <p:cNvCxnSpPr/>
              <p:nvPr/>
            </p:nvCxnSpPr>
            <p:spPr>
              <a:xfrm>
                <a:off x="2288675" y="2889902"/>
                <a:ext cx="146289" cy="37805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123"/>
              <p:cNvCxnSpPr/>
              <p:nvPr/>
            </p:nvCxnSpPr>
            <p:spPr>
              <a:xfrm flipH="1">
                <a:off x="402230" y="1972487"/>
                <a:ext cx="813367" cy="178611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124"/>
              <p:cNvCxnSpPr/>
              <p:nvPr/>
            </p:nvCxnSpPr>
            <p:spPr>
              <a:xfrm>
                <a:off x="2757230" y="2889902"/>
                <a:ext cx="272160" cy="212626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125"/>
              <p:cNvCxnSpPr>
                <a:stCxn id="141" idx="2"/>
              </p:cNvCxnSpPr>
              <p:nvPr/>
            </p:nvCxnSpPr>
            <p:spPr>
              <a:xfrm>
                <a:off x="1727046" y="2698009"/>
                <a:ext cx="1208900" cy="124373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126"/>
              <p:cNvCxnSpPr>
                <a:stCxn id="106" idx="4"/>
              </p:cNvCxnSpPr>
              <p:nvPr/>
            </p:nvCxnSpPr>
            <p:spPr>
              <a:xfrm flipV="1">
                <a:off x="1621724" y="3456165"/>
                <a:ext cx="1228644" cy="542485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27"/>
              <p:cNvCxnSpPr>
                <a:endCxn id="74" idx="0"/>
              </p:cNvCxnSpPr>
              <p:nvPr/>
            </p:nvCxnSpPr>
            <p:spPr>
              <a:xfrm>
                <a:off x="1386618" y="2441821"/>
                <a:ext cx="2105272" cy="420716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128"/>
              <p:cNvCxnSpPr>
                <a:endCxn id="74" idx="2"/>
              </p:cNvCxnSpPr>
              <p:nvPr/>
            </p:nvCxnSpPr>
            <p:spPr>
              <a:xfrm>
                <a:off x="2337163" y="1822219"/>
                <a:ext cx="1075035" cy="1488939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29"/>
              <p:cNvCxnSpPr>
                <a:stCxn id="106" idx="2"/>
                <a:endCxn id="72" idx="2"/>
              </p:cNvCxnSpPr>
              <p:nvPr/>
            </p:nvCxnSpPr>
            <p:spPr>
              <a:xfrm flipV="1">
                <a:off x="1086393" y="4192430"/>
                <a:ext cx="2613361" cy="252849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130"/>
              <p:cNvCxnSpPr>
                <a:endCxn id="71" idx="4"/>
              </p:cNvCxnSpPr>
              <p:nvPr/>
            </p:nvCxnSpPr>
            <p:spPr>
              <a:xfrm>
                <a:off x="3249507" y="1836841"/>
                <a:ext cx="645557" cy="146548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131"/>
              <p:cNvCxnSpPr>
                <a:stCxn id="75" idx="4"/>
              </p:cNvCxnSpPr>
              <p:nvPr/>
            </p:nvCxnSpPr>
            <p:spPr>
              <a:xfrm flipV="1">
                <a:off x="4680222" y="3698751"/>
                <a:ext cx="23467" cy="38856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132"/>
              <p:cNvCxnSpPr>
                <a:endCxn id="75" idx="4"/>
              </p:cNvCxnSpPr>
              <p:nvPr/>
            </p:nvCxnSpPr>
            <p:spPr>
              <a:xfrm>
                <a:off x="3249507" y="1836841"/>
                <a:ext cx="1430715" cy="190076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133"/>
              <p:cNvCxnSpPr>
                <a:stCxn id="109" idx="4"/>
                <a:endCxn id="71" idx="2"/>
              </p:cNvCxnSpPr>
              <p:nvPr/>
            </p:nvCxnSpPr>
            <p:spPr>
              <a:xfrm flipV="1">
                <a:off x="2066861" y="3748953"/>
                <a:ext cx="1292872" cy="24150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134"/>
              <p:cNvCxnSpPr>
                <a:endCxn id="142" idx="0"/>
              </p:cNvCxnSpPr>
              <p:nvPr/>
            </p:nvCxnSpPr>
            <p:spPr>
              <a:xfrm flipV="1">
                <a:off x="369651" y="1378859"/>
                <a:ext cx="1572911" cy="197135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Oval 135"/>
              <p:cNvSpPr/>
              <p:nvPr/>
            </p:nvSpPr>
            <p:spPr>
              <a:xfrm>
                <a:off x="2199375" y="1650754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4" name="Oval 136"/>
              <p:cNvSpPr/>
              <p:nvPr/>
            </p:nvSpPr>
            <p:spPr>
              <a:xfrm>
                <a:off x="3793996" y="3131656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5" name="Oval 137"/>
              <p:cNvSpPr/>
              <p:nvPr/>
            </p:nvSpPr>
            <p:spPr>
              <a:xfrm>
                <a:off x="2126230" y="2511181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6" name="Oval 138"/>
              <p:cNvSpPr/>
              <p:nvPr/>
            </p:nvSpPr>
            <p:spPr>
              <a:xfrm>
                <a:off x="1146577" y="3406692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7" name="Oval 139"/>
              <p:cNvSpPr/>
              <p:nvPr/>
            </p:nvSpPr>
            <p:spPr>
              <a:xfrm>
                <a:off x="4052155" y="3557822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8" name="Oval 140"/>
              <p:cNvSpPr/>
              <p:nvPr/>
            </p:nvSpPr>
            <p:spPr>
              <a:xfrm>
                <a:off x="3084859" y="1688853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9" name="Oval 141"/>
              <p:cNvSpPr/>
              <p:nvPr/>
            </p:nvSpPr>
            <p:spPr>
              <a:xfrm>
                <a:off x="1776703" y="3266938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0" name="Oval 142"/>
              <p:cNvSpPr/>
              <p:nvPr/>
            </p:nvSpPr>
            <p:spPr>
              <a:xfrm>
                <a:off x="1278824" y="2286296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1" name="Oval 143"/>
              <p:cNvSpPr/>
              <p:nvPr/>
            </p:nvSpPr>
            <p:spPr>
              <a:xfrm>
                <a:off x="347103" y="3627046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2" name="Oval 144"/>
              <p:cNvSpPr/>
              <p:nvPr/>
            </p:nvSpPr>
            <p:spPr>
              <a:xfrm>
                <a:off x="2525119" y="2166344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3" name="Oval 145"/>
              <p:cNvSpPr/>
              <p:nvPr/>
            </p:nvSpPr>
            <p:spPr>
              <a:xfrm>
                <a:off x="2790772" y="1348117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4" name="Oval 146"/>
              <p:cNvSpPr/>
              <p:nvPr/>
            </p:nvSpPr>
            <p:spPr>
              <a:xfrm>
                <a:off x="4578718" y="3566367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5" name="Oval 147"/>
              <p:cNvSpPr/>
              <p:nvPr/>
            </p:nvSpPr>
            <p:spPr>
              <a:xfrm>
                <a:off x="3562978" y="3939581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6" name="Oval 148"/>
              <p:cNvSpPr/>
              <p:nvPr/>
            </p:nvSpPr>
            <p:spPr>
              <a:xfrm>
                <a:off x="829103" y="2989447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7" name="Oval 149"/>
              <p:cNvSpPr/>
              <p:nvPr/>
            </p:nvSpPr>
            <p:spPr>
              <a:xfrm>
                <a:off x="1360195" y="3679902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8" name="Oval 150"/>
              <p:cNvSpPr/>
              <p:nvPr/>
            </p:nvSpPr>
            <p:spPr>
              <a:xfrm>
                <a:off x="3380515" y="2729295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9" name="Oval 151"/>
              <p:cNvSpPr/>
              <p:nvPr/>
            </p:nvSpPr>
            <p:spPr>
              <a:xfrm>
                <a:off x="1767621" y="1297598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</p:grpSp>
        <p:sp>
          <p:nvSpPr>
            <p:cNvPr id="172" name="Oval 112"/>
            <p:cNvSpPr/>
            <p:nvPr/>
          </p:nvSpPr>
          <p:spPr>
            <a:xfrm>
              <a:off x="8551732" y="3435642"/>
              <a:ext cx="136938" cy="205072"/>
            </a:xfrm>
            <a:prstGeom prst="ellipse">
              <a:avLst/>
            </a:prstGeom>
            <a:solidFill>
              <a:srgbClr val="66CCF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3" name="Oval 113"/>
            <p:cNvSpPr/>
            <p:nvPr/>
          </p:nvSpPr>
          <p:spPr>
            <a:xfrm>
              <a:off x="6343501" y="4047922"/>
              <a:ext cx="136938" cy="205072"/>
            </a:xfrm>
            <a:prstGeom prst="ellipse">
              <a:avLst/>
            </a:prstGeom>
            <a:solidFill>
              <a:srgbClr val="66CCF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 sz="1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4" name="Oval 114"/>
            <p:cNvSpPr/>
            <p:nvPr/>
          </p:nvSpPr>
          <p:spPr>
            <a:xfrm>
              <a:off x="7246352" y="2108200"/>
              <a:ext cx="136938" cy="205072"/>
            </a:xfrm>
            <a:prstGeom prst="ellipse">
              <a:avLst/>
            </a:prstGeom>
            <a:solidFill>
              <a:srgbClr val="66CCF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 sz="1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5" name="Oval 115"/>
            <p:cNvSpPr/>
            <p:nvPr/>
          </p:nvSpPr>
          <p:spPr>
            <a:xfrm>
              <a:off x="7606416" y="3766826"/>
              <a:ext cx="136938" cy="20507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 sz="1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</p:grpSp>
      <p:sp>
        <p:nvSpPr>
          <p:cNvPr id="183" name="Rectangle 38"/>
          <p:cNvSpPr>
            <a:spLocks/>
          </p:cNvSpPr>
          <p:nvPr/>
        </p:nvSpPr>
        <p:spPr bwMode="auto">
          <a:xfrm>
            <a:off x="1600987" y="4480059"/>
            <a:ext cx="2641969" cy="1172901"/>
          </a:xfrm>
          <a:prstGeom prst="rect">
            <a:avLst/>
          </a:prstGeom>
        </p:spPr>
        <p:txBody>
          <a:bodyPr wrap="square" lIns="64277" tIns="32139" rIns="64277" bIns="32139">
            <a:spAutoFit/>
          </a:bodyPr>
          <a:lstStyle/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eparate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World</a:t>
            </a: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entralized Hierarchical Structure</a:t>
            </a: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go-Centric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ower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186" name="สี่เหลี่ยมผืนผ้า 11"/>
          <p:cNvSpPr/>
          <p:nvPr/>
        </p:nvSpPr>
        <p:spPr>
          <a:xfrm>
            <a:off x="7964861" y="4523926"/>
            <a:ext cx="2941419" cy="1172901"/>
          </a:xfrm>
          <a:prstGeom prst="rect">
            <a:avLst/>
          </a:prstGeom>
        </p:spPr>
        <p:txBody>
          <a:bodyPr wrap="square" lIns="64277" tIns="32139" rIns="64277" bIns="32139">
            <a:spAutoFit/>
          </a:bodyPr>
          <a:lstStyle/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onnected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World</a:t>
            </a: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Multi-Layer Poly-Centric Network 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co-Centric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ower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45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กลุ่ม 2"/>
          <p:cNvGrpSpPr/>
          <p:nvPr/>
        </p:nvGrpSpPr>
        <p:grpSpPr>
          <a:xfrm>
            <a:off x="861925" y="759514"/>
            <a:ext cx="7146467" cy="6098486"/>
            <a:chOff x="-662082" y="778081"/>
            <a:chExt cx="7146467" cy="6409944"/>
          </a:xfrm>
        </p:grpSpPr>
        <p:sp>
          <p:nvSpPr>
            <p:cNvPr id="78850" name="Rectangle 2"/>
            <p:cNvSpPr>
              <a:spLocks/>
            </p:cNvSpPr>
            <p:nvPr/>
          </p:nvSpPr>
          <p:spPr bwMode="auto">
            <a:xfrm>
              <a:off x="-662082" y="4952705"/>
              <a:ext cx="6913811" cy="2235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89289" tIns="53573" rIns="89289" bIns="53573"/>
            <a:lstStyle/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4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มนุษย์ที่อ่อนด้อย</a:t>
              </a:r>
            </a:p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8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สังคมที่อ่อนแอ</a:t>
              </a:r>
            </a:p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8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ธรรมชาติที่เสื่อมโทรม</a:t>
              </a:r>
            </a:p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8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คุณธรรมจริยธรรมที่เสื่อมทราม</a:t>
              </a:r>
              <a:endParaRPr lang="th-TH" sz="2800" dirty="0">
                <a:solidFill>
                  <a:srgbClr val="000000"/>
                </a:solidFill>
                <a:latin typeface="DB Chidlom X" panose="02000506000000020004" pitchFamily="2" charset="-34"/>
                <a:cs typeface="DB Chidlom X" panose="02000506000000020004" pitchFamily="2" charset="-34"/>
                <a:sym typeface="Helvetica Light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573947" y="778081"/>
              <a:ext cx="7058332" cy="808733"/>
            </a:xfrm>
            <a:prstGeom prst="rect">
              <a:avLst/>
            </a:prstGeom>
            <a:noFill/>
          </p:spPr>
          <p:txBody>
            <a:bodyPr wrap="none" lIns="91435" tIns="45718" rIns="91435" bIns="45718" rtlCol="0">
              <a:spAutoFit/>
            </a:bodyPr>
            <a:lstStyle/>
            <a:p>
              <a:pPr defTabSz="909909"/>
              <a:r>
                <a:rPr lang="th-TH" sz="44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ประเทศไทยในศตวรรษแห่งความว่างเปล่า</a:t>
              </a:r>
            </a:p>
          </p:txBody>
        </p:sp>
        <p:sp>
          <p:nvSpPr>
            <p:cNvPr id="2" name="สี่เหลี่ยมผืนผ้า 1"/>
            <p:cNvSpPr/>
            <p:nvPr/>
          </p:nvSpPr>
          <p:spPr>
            <a:xfrm>
              <a:off x="-623456" y="1867983"/>
              <a:ext cx="6192688" cy="21674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ประเทศที่มีรายได้ระดับปานกลาง</a:t>
              </a:r>
            </a:p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ความเหลื่อมล้ำ </a:t>
              </a:r>
            </a:p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ทุจริตคอรัปชั่น </a:t>
              </a:r>
            </a:p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ความขัดแย้งที่รุนแรง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90966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กลุ่ม 3"/>
          <p:cNvGrpSpPr/>
          <p:nvPr/>
        </p:nvGrpSpPr>
        <p:grpSpPr>
          <a:xfrm>
            <a:off x="1631511" y="12376"/>
            <a:ext cx="8712968" cy="6603793"/>
            <a:chOff x="107505" y="188640"/>
            <a:chExt cx="8712968" cy="6603793"/>
          </a:xfrm>
        </p:grpSpPr>
        <p:sp>
          <p:nvSpPr>
            <p:cNvPr id="22" name="TextBox 21"/>
            <p:cNvSpPr txBox="1"/>
            <p:nvPr/>
          </p:nvSpPr>
          <p:spPr>
            <a:xfrm>
              <a:off x="107505" y="188640"/>
              <a:ext cx="6774601" cy="584771"/>
            </a:xfrm>
            <a:prstGeom prst="rect">
              <a:avLst/>
            </a:prstGeom>
            <a:noFill/>
          </p:spPr>
          <p:txBody>
            <a:bodyPr wrap="none" lIns="91435" tIns="45718" rIns="91435" bIns="45718" rtlCol="0">
              <a:spAutoFit/>
            </a:bodyPr>
            <a:lstStyle/>
            <a:p>
              <a:pPr defTabSz="909909"/>
              <a:r>
                <a:rPr lang="th-TH" sz="3200" b="1" dirty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การเผชิญกับกับดัก</a:t>
              </a:r>
              <a:r>
                <a:rPr lang="th-TH" sz="3200" b="1" dirty="0" smtClean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ประเทศ</a:t>
              </a:r>
              <a:r>
                <a:rPr lang="en-US" sz="3200" b="1" dirty="0" smtClean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 </a:t>
              </a:r>
              <a:r>
                <a:rPr lang="th-TH" sz="3200" b="1" dirty="0" smtClean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ที่</a:t>
              </a:r>
              <a:r>
                <a:rPr lang="th-TH" sz="3200" b="1" dirty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มีรายได้ระดับปานกลาง</a:t>
              </a:r>
            </a:p>
          </p:txBody>
        </p:sp>
        <p:grpSp>
          <p:nvGrpSpPr>
            <p:cNvPr id="3" name="กลุ่ม 2"/>
            <p:cNvGrpSpPr/>
            <p:nvPr/>
          </p:nvGrpSpPr>
          <p:grpSpPr>
            <a:xfrm>
              <a:off x="323529" y="748746"/>
              <a:ext cx="8496944" cy="6043687"/>
              <a:chOff x="323529" y="748746"/>
              <a:chExt cx="8496944" cy="6043687"/>
            </a:xfrm>
          </p:grpSpPr>
          <p:grpSp>
            <p:nvGrpSpPr>
              <p:cNvPr id="23" name="กลุ่ม 22"/>
              <p:cNvGrpSpPr/>
              <p:nvPr/>
            </p:nvGrpSpPr>
            <p:grpSpPr>
              <a:xfrm>
                <a:off x="737100" y="748746"/>
                <a:ext cx="6814778" cy="3503756"/>
                <a:chOff x="760985" y="1280827"/>
                <a:chExt cx="6814778" cy="5445142"/>
              </a:xfrm>
            </p:grpSpPr>
            <p:pic>
              <p:nvPicPr>
                <p:cNvPr id="24" name="Picture 3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760985" y="1280827"/>
                  <a:ext cx="6801894" cy="544514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cxnSp>
              <p:nvCxnSpPr>
                <p:cNvPr id="25" name="Straight Connector 5"/>
                <p:cNvCxnSpPr/>
                <p:nvPr/>
              </p:nvCxnSpPr>
              <p:spPr>
                <a:xfrm>
                  <a:off x="1187624" y="3076357"/>
                  <a:ext cx="6388139" cy="0"/>
                </a:xfrm>
                <a:prstGeom prst="line">
                  <a:avLst/>
                </a:prstGeom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6" name="Down Arrow 7"/>
                <p:cNvSpPr/>
                <p:nvPr/>
              </p:nvSpPr>
              <p:spPr>
                <a:xfrm rot="10800000">
                  <a:off x="4021530" y="2780927"/>
                  <a:ext cx="862387" cy="1080120"/>
                </a:xfrm>
                <a:prstGeom prst="down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002" tIns="45500" rIns="91002" bIns="45500" rtlCol="0" anchor="ctr"/>
                <a:lstStyle/>
                <a:p>
                  <a:pPr defTabSz="408661"/>
                  <a:endParaRPr lang="en-US">
                    <a:solidFill>
                      <a:prstClr val="white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endParaRPr>
                </a:p>
              </p:txBody>
            </p:sp>
          </p:grpSp>
          <p:sp>
            <p:nvSpPr>
              <p:cNvPr id="1158149" name="AutoShape 5"/>
              <p:cNvSpPr>
                <a:spLocks noChangeArrowheads="1"/>
              </p:cNvSpPr>
              <p:nvPr/>
            </p:nvSpPr>
            <p:spPr bwMode="auto">
              <a:xfrm>
                <a:off x="5754367" y="4324589"/>
                <a:ext cx="3066106" cy="1268627"/>
              </a:xfrm>
              <a:prstGeom prst="chevron">
                <a:avLst>
                  <a:gd name="adj" fmla="val 48611"/>
                </a:avLst>
              </a:prstGeom>
              <a:solidFill>
                <a:srgbClr val="0000CC"/>
              </a:solidFill>
              <a:ln w="9525">
                <a:noFill/>
                <a:miter lim="800000"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lIns="91416" tIns="45709" rIns="91416" bIns="45709" anchor="ctr">
                <a:flatTx/>
              </a:bodyPr>
              <a:lstStyle/>
              <a:p>
                <a:pPr algn="ctr" defTabSz="410415">
                  <a:defRPr/>
                </a:pPr>
                <a:endParaRPr lang="en-GB" sz="2000" b="1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1158147" name="AutoShape 3"/>
              <p:cNvSpPr>
                <a:spLocks noChangeArrowheads="1"/>
              </p:cNvSpPr>
              <p:nvPr/>
            </p:nvSpPr>
            <p:spPr bwMode="auto">
              <a:xfrm>
                <a:off x="323529" y="4284077"/>
                <a:ext cx="3234236" cy="1309139"/>
              </a:xfrm>
              <a:prstGeom prst="chevron">
                <a:avLst>
                  <a:gd name="adj" fmla="val 48611"/>
                </a:avLst>
              </a:prstGeom>
              <a:solidFill>
                <a:srgbClr val="66CCFF"/>
              </a:solidFill>
              <a:ln w="9525">
                <a:noFill/>
                <a:miter lim="800000"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lIns="91416" tIns="45709" rIns="91416" bIns="45709" anchor="ctr">
                <a:flatTx/>
              </a:bodyPr>
              <a:lstStyle/>
              <a:p>
                <a:pPr algn="ctr" defTabSz="410415">
                  <a:defRPr/>
                </a:pPr>
                <a:endParaRPr lang="en-GB" sz="2000" b="1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178182" name="Text Box 6"/>
              <p:cNvSpPr txBox="1">
                <a:spLocks noChangeArrowheads="1"/>
              </p:cNvSpPr>
              <p:nvPr/>
            </p:nvSpPr>
            <p:spPr bwMode="auto">
              <a:xfrm>
                <a:off x="1348499" y="4537465"/>
                <a:ext cx="1306721" cy="923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91416" tIns="45709" rIns="91416" bIns="45709">
                <a:spAutoFit/>
              </a:bodyPr>
              <a:lstStyle/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ระบบเศรษฐกิจ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ที่ขับเคลื่อนด้วย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ปัจจัยการผลิต</a:t>
                </a:r>
              </a:p>
            </p:txBody>
          </p:sp>
          <p:sp>
            <p:nvSpPr>
              <p:cNvPr id="1158148" name="AutoShape 4"/>
              <p:cNvSpPr>
                <a:spLocks noChangeArrowheads="1"/>
              </p:cNvSpPr>
              <p:nvPr/>
            </p:nvSpPr>
            <p:spPr bwMode="auto">
              <a:xfrm>
                <a:off x="3100567" y="4324589"/>
                <a:ext cx="3143204" cy="1268733"/>
              </a:xfrm>
              <a:prstGeom prst="chevron">
                <a:avLst>
                  <a:gd name="adj" fmla="val 48611"/>
                </a:avLst>
              </a:prstGeom>
              <a:solidFill>
                <a:srgbClr val="0066FF"/>
              </a:solidFill>
              <a:ln w="9525">
                <a:noFill/>
                <a:miter lim="800000"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lIns="91416" tIns="45709" rIns="91416" bIns="45709" anchor="ctr">
                <a:flatTx/>
              </a:bodyPr>
              <a:lstStyle/>
              <a:p>
                <a:pPr algn="ctr" defTabSz="410415">
                  <a:defRPr/>
                </a:pPr>
                <a:endParaRPr lang="en-GB" sz="2000" b="1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2" name="ลูกศรโค้งลง 1"/>
              <p:cNvSpPr/>
              <p:nvPr/>
            </p:nvSpPr>
            <p:spPr bwMode="auto">
              <a:xfrm>
                <a:off x="5300366" y="4005065"/>
                <a:ext cx="1206113" cy="639053"/>
              </a:xfrm>
              <a:prstGeom prst="curvedDown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/>
            </p:spPr>
            <p:txBody>
              <a:bodyPr vert="horz" wrap="square" lIns="91416" tIns="45709" rIns="91416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84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  <a:sym typeface="Helvetica Light" charset="0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3059832" y="5531531"/>
                <a:ext cx="3096344" cy="1260902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รายได้ปานกลาง</a:t>
                </a:r>
              </a:p>
              <a:p>
                <a:pPr algn="ctr" defTabSz="410415"/>
                <a:endParaRPr lang="th-TH" sz="2500" b="1" dirty="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372201" y="5531530"/>
                <a:ext cx="2347465" cy="871372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รายได้สูง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424336" y="5531530"/>
                <a:ext cx="2347465" cy="871372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รายได้ต่ำ</a:t>
                </a:r>
              </a:p>
            </p:txBody>
          </p:sp>
          <p:sp>
            <p:nvSpPr>
              <p:cNvPr id="31" name="ลูกศรขวา 30"/>
              <p:cNvSpPr/>
              <p:nvPr/>
            </p:nvSpPr>
            <p:spPr bwMode="auto">
              <a:xfrm>
                <a:off x="2707152" y="5724889"/>
                <a:ext cx="712720" cy="477054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16" tIns="45709" rIns="91416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84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  <a:sym typeface="Helvetica Light" charset="0"/>
                </a:endParaRPr>
              </a:p>
            </p:txBody>
          </p:sp>
          <p:sp>
            <p:nvSpPr>
              <p:cNvPr id="21" name="ลูกศรขวา 20"/>
              <p:cNvSpPr/>
              <p:nvPr/>
            </p:nvSpPr>
            <p:spPr bwMode="auto">
              <a:xfrm>
                <a:off x="5760287" y="5724889"/>
                <a:ext cx="712720" cy="477054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16" tIns="45709" rIns="91416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84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  <a:sym typeface="Helvetica Light" charset="0"/>
                </a:endParaRPr>
              </a:p>
            </p:txBody>
          </p:sp>
          <p:sp>
            <p:nvSpPr>
              <p:cNvPr id="27" name="Text Box 6"/>
              <p:cNvSpPr txBox="1">
                <a:spLocks noChangeArrowheads="1"/>
              </p:cNvSpPr>
              <p:nvPr/>
            </p:nvSpPr>
            <p:spPr bwMode="auto">
              <a:xfrm>
                <a:off x="3694158" y="4537465"/>
                <a:ext cx="1883801" cy="923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91416" tIns="45709" rIns="91416" bIns="45709">
                <a:spAutoFit/>
              </a:bodyPr>
              <a:lstStyle/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ระบบเศรษฐกิจ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ที่ขับเคลื่อนด้วย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ประสิทธิภาพในการผลิต</a:t>
                </a:r>
              </a:p>
            </p:txBody>
          </p:sp>
          <p:sp>
            <p:nvSpPr>
              <p:cNvPr id="32" name="Text Box 6"/>
              <p:cNvSpPr txBox="1">
                <a:spLocks noChangeArrowheads="1"/>
              </p:cNvSpPr>
              <p:nvPr/>
            </p:nvSpPr>
            <p:spPr bwMode="auto">
              <a:xfrm>
                <a:off x="6614169" y="4537465"/>
                <a:ext cx="1306721" cy="923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91416" tIns="45709" rIns="91416" bIns="45709">
                <a:spAutoFit/>
              </a:bodyPr>
              <a:lstStyle/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ระบบเศรษฐกิจ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ที่ขับเคลื่อนด้วย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นวัตกรรม</a:t>
                </a:r>
              </a:p>
            </p:txBody>
          </p:sp>
        </p:grpSp>
      </p:grpSp>
      <p:sp>
        <p:nvSpPr>
          <p:cNvPr id="5" name="TextBox 4"/>
          <p:cNvSpPr txBox="1"/>
          <p:nvPr/>
        </p:nvSpPr>
        <p:spPr>
          <a:xfrm>
            <a:off x="7799942" y="3503363"/>
            <a:ext cx="24347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 smtClean="0">
                <a:latin typeface="DB Chidlom X Bold" panose="02000806000000020004" pitchFamily="2" charset="-34"/>
                <a:cs typeface="DB Chidlom X Bold" panose="02000806000000020004" pitchFamily="2" charset="-34"/>
              </a:rPr>
              <a:t>Innovation</a:t>
            </a:r>
            <a:endParaRPr lang="en-US" sz="4800" dirty="0"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346472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871850" y="72911"/>
            <a:ext cx="9103407" cy="6216559"/>
            <a:chOff x="40600" y="72911"/>
            <a:chExt cx="9103407" cy="6216559"/>
          </a:xfrm>
        </p:grpSpPr>
        <p:grpSp>
          <p:nvGrpSpPr>
            <p:cNvPr id="3" name="กลุ่ม 5"/>
            <p:cNvGrpSpPr/>
            <p:nvPr/>
          </p:nvGrpSpPr>
          <p:grpSpPr>
            <a:xfrm>
              <a:off x="40600" y="504213"/>
              <a:ext cx="9103407" cy="5785257"/>
              <a:chOff x="40593" y="720337"/>
              <a:chExt cx="9103407" cy="5785258"/>
            </a:xfrm>
          </p:grpSpPr>
          <p:sp>
            <p:nvSpPr>
              <p:cNvPr id="5" name="เครื่องหมายบั้ง 31"/>
              <p:cNvSpPr/>
              <p:nvPr/>
            </p:nvSpPr>
            <p:spPr bwMode="auto">
              <a:xfrm>
                <a:off x="6204536" y="5359596"/>
                <a:ext cx="2939464" cy="695656"/>
              </a:xfrm>
              <a:prstGeom prst="chevron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35" tIns="45718" rIns="91435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96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FFFFFF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" name="เครื่องหมายบั้ง 7"/>
              <p:cNvSpPr/>
              <p:nvPr/>
            </p:nvSpPr>
            <p:spPr bwMode="auto">
              <a:xfrm>
                <a:off x="3347864" y="5347384"/>
                <a:ext cx="3047984" cy="707867"/>
              </a:xfrm>
              <a:prstGeom prst="chevron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35" tIns="45718" rIns="91435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96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FFFFFF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7" name="รูปห้าเหลี่ยม 6"/>
              <p:cNvSpPr/>
              <p:nvPr/>
            </p:nvSpPr>
            <p:spPr bwMode="auto">
              <a:xfrm>
                <a:off x="755576" y="5301208"/>
                <a:ext cx="2808312" cy="754044"/>
              </a:xfrm>
              <a:prstGeom prst="homePlate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35" tIns="45718" rIns="91435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96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FFFFFF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928391" y="5313420"/>
                <a:ext cx="2347465" cy="707864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รายได้ต่ำ</a:t>
                </a: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40593" y="720337"/>
                <a:ext cx="8962363" cy="4335773"/>
                <a:chOff x="40593" y="504313"/>
                <a:chExt cx="8962363" cy="4335773"/>
              </a:xfrm>
            </p:grpSpPr>
            <p:sp>
              <p:nvSpPr>
                <p:cNvPr id="15" name="สี่เหลี่ยมผืนผ้า 2"/>
                <p:cNvSpPr/>
                <p:nvPr/>
              </p:nvSpPr>
              <p:spPr bwMode="auto">
                <a:xfrm>
                  <a:off x="697123" y="608821"/>
                  <a:ext cx="8287311" cy="4231265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6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646418" y="3260033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1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17" name="TextBox 15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-1123152" y="2506503"/>
                  <a:ext cx="2973749" cy="64626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defTabSz="913368" eaLnBrk="1" hangingPunct="1"/>
                  <a:r>
                    <a:rPr lang="th-TH" sz="3600" b="1" i="0" dirty="0">
                      <a:solidFill>
                        <a:prstClr val="black"/>
                      </a:solidFill>
                      <a:latin typeface="DB Chidlom X" pitchFamily="2" charset="-34"/>
                      <a:cs typeface="DB Chidlom X" pitchFamily="2" charset="-34"/>
                    </a:rPr>
                    <a:t>ความมั่งคั่งของชาติ</a:t>
                  </a:r>
                </a:p>
              </p:txBody>
            </p:sp>
            <p:sp>
              <p:nvSpPr>
                <p:cNvPr id="18" name="ลูกศรลง 1"/>
                <p:cNvSpPr/>
                <p:nvPr/>
              </p:nvSpPr>
              <p:spPr bwMode="auto">
                <a:xfrm rot="13543597">
                  <a:off x="4421914" y="2107055"/>
                  <a:ext cx="754795" cy="841663"/>
                </a:xfrm>
                <a:prstGeom prst="downArrow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9" name="ลูกศรลง 13"/>
                <p:cNvSpPr/>
                <p:nvPr/>
              </p:nvSpPr>
              <p:spPr bwMode="auto">
                <a:xfrm rot="13413480">
                  <a:off x="2346045" y="3556546"/>
                  <a:ext cx="754795" cy="841663"/>
                </a:xfrm>
                <a:prstGeom prst="downArrow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20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2523029" y="2179912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2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21" name="ลูกศรลง 15"/>
                <p:cNvSpPr/>
                <p:nvPr/>
              </p:nvSpPr>
              <p:spPr bwMode="auto">
                <a:xfrm rot="13465000">
                  <a:off x="6392092" y="1059537"/>
                  <a:ext cx="867508" cy="732308"/>
                </a:xfrm>
                <a:prstGeom prst="downArrow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22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4966898" y="1606818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3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23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7055130" y="504313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4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755576" y="4273914"/>
                  <a:ext cx="1367672" cy="46166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th-TH" sz="2400" b="1" dirty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เกษตรกรรม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2432677" y="3116016"/>
                  <a:ext cx="1747584" cy="46166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th-TH" sz="2400" b="1" dirty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อุตสาหกรรมเบา</a:t>
                  </a:r>
                </a:p>
              </p:txBody>
            </p:sp>
            <p:sp>
              <p:nvSpPr>
                <p:cNvPr id="26" name="TextBox 25"/>
                <p:cNvSpPr txBox="1"/>
                <p:nvPr/>
              </p:nvSpPr>
              <p:spPr>
                <a:xfrm>
                  <a:off x="4809807" y="2586177"/>
                  <a:ext cx="1890251" cy="46166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th-TH" sz="2400" b="1" dirty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อุตสาหกรรมหนัก</a:t>
                  </a: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7655584" y="1489880"/>
                  <a:ext cx="752119" cy="58477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en-US" sz="3200" b="1" dirty="0" smtClean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???</a:t>
                  </a:r>
                  <a:endParaRPr lang="th-TH" sz="32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3878851" y="5301208"/>
                <a:ext cx="2347465" cy="707864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รายได้ปานกลาง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6444209" y="5301208"/>
                <a:ext cx="2347465" cy="707864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รายได้สูง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928391" y="6105508"/>
                <a:ext cx="2347465" cy="400087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rPr>
                  <a:t>ขับเคลื่อนด้วยทรัพยากร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3779912" y="6093296"/>
                <a:ext cx="2347465" cy="400087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rPr>
                  <a:t>ขับเคลื่อนด้วยประสิทธิภาพ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444208" y="6105508"/>
                <a:ext cx="2347465" cy="400087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rPr>
                  <a:t>ขับเคลื่อนด้วยนวัตกรรม</a:t>
                </a:r>
              </a:p>
            </p:txBody>
          </p:sp>
        </p:grpSp>
        <p:sp>
          <p:nvSpPr>
            <p:cNvPr id="4" name="Rectangle 2"/>
            <p:cNvSpPr>
              <a:spLocks/>
            </p:cNvSpPr>
            <p:nvPr/>
          </p:nvSpPr>
          <p:spPr bwMode="auto">
            <a:xfrm>
              <a:off x="464821" y="72911"/>
              <a:ext cx="4334497" cy="5034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89285" tIns="53571" rIns="89285" bIns="53571" anchor="ctr"/>
            <a:lstStyle/>
            <a:p>
              <a:pPr defTabSz="912608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th-TH" sz="3600" b="1" dirty="0">
                  <a:solidFill>
                    <a:srgbClr val="7030A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โมเดลประเทศไทย 4.0</a:t>
              </a:r>
            </a:p>
          </p:txBody>
        </p:sp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5088" y="3514709"/>
              <a:ext cx="5857875" cy="13620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0" name="สี่เหลี่ยมผืนผ้า 4"/>
          <p:cNvSpPr/>
          <p:nvPr/>
        </p:nvSpPr>
        <p:spPr>
          <a:xfrm>
            <a:off x="6983437" y="6519446"/>
            <a:ext cx="50040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600" b="1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สำนักงาน</a:t>
            </a:r>
            <a:r>
              <a:rPr lang="th-TH" sz="1600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คณะกรรมการพัฒนาการเศรษฐกิจและสังคมแห่งชาติ, กรกฎาคม 2558</a:t>
            </a:r>
          </a:p>
        </p:txBody>
      </p:sp>
    </p:spTree>
    <p:extLst>
      <p:ext uri="{BB962C8B-B14F-4D97-AF65-F5344CB8AC3E}">
        <p14:creationId xmlns:p14="http://schemas.microsoft.com/office/powerpoint/2010/main" val="2014639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2067" y="169333"/>
            <a:ext cx="5512823" cy="138869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54687" y="3015680"/>
            <a:ext cx="106599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่วมมือกับสถานประกอบการ 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เป็นการจัดการศึกษาระหว่างสถานประกอบการและสถานศึกษา โดยมุ่งเน้นให้นักศึกษาได้ฝึกปฏิบัติจริงและเมื่อจบการศึกษาแล้ว 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ามารถประกอบอาชีพได้ทันที </a:t>
            </a:r>
          </a:p>
        </p:txBody>
      </p:sp>
      <p:sp>
        <p:nvSpPr>
          <p:cNvPr id="7" name="Rectangle 6"/>
          <p:cNvSpPr/>
          <p:nvPr/>
        </p:nvSpPr>
        <p:spPr>
          <a:xfrm>
            <a:off x="891823" y="1702129"/>
            <a:ext cx="106228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ทำ</a:t>
            </a:r>
            <a:r>
              <a:rPr lang="th-TH" sz="36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ให้ </a:t>
            </a:r>
            <a:r>
              <a:rPr lang="th-TH" sz="3600" b="1" dirty="0" err="1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36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มี</a:t>
            </a: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ป็นเลิศเฉพาะด้าน 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ให้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มีการจัดการศึกษาทางด้านเทคโนโลยีฐานวิทยาศาสตร์ 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ผลิตบัณฑิตนักปฏิบัติ มืออาชีพ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	</a:t>
            </a:r>
            <a:endParaRPr lang="th-TH" sz="3600" b="1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43397" y="4875925"/>
            <a:ext cx="105245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จัด</a:t>
            </a:r>
            <a:r>
              <a:rPr lang="th-TH" sz="36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ศึกษามาตรฐานสากล 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ร่วมมือ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กับกลุ่มประเทศ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อาเซียน รวมทั้ง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จีน ญี่ปุ่น เกาหลี และยุโรปบางประเทศ ได้แก่ อังกฤษ  เดนมาร์ค เยอรมัน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67267" y="819043"/>
            <a:ext cx="3320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วาระเร่งด่วนของอาชีวศึกษา</a:t>
            </a:r>
            <a:endParaRPr lang="en-US" sz="2800" b="1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51812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0791" y="2646547"/>
            <a:ext cx="7500771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000" b="1" dirty="0" err="1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6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 ในบริบทปัจจุบัน</a:t>
            </a:r>
            <a:endParaRPr lang="th-TH" sz="6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8303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79576" y="332656"/>
            <a:ext cx="70118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 (Internal Factors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1785" y="1295806"/>
            <a:ext cx="8843816" cy="434022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462935" y="5764681"/>
            <a:ext cx="4270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Ref: </a:t>
            </a:r>
            <a:r>
              <a:rPr lang="th-TH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องนโยบายและแผนของแต่ละมหาวิทยาลัย พศ</a:t>
            </a:r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2557</a:t>
            </a:r>
            <a:endParaRPr lang="en-US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8471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400" y="969483"/>
            <a:ext cx="10195532" cy="495759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79576" y="332656"/>
            <a:ext cx="70118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 (Internal Factors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20172" y="1095622"/>
            <a:ext cx="981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0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จำนวนคน</a:t>
            </a:r>
            <a:endParaRPr lang="en-US" sz="2000" b="1" dirty="0">
              <a:solidFill>
                <a:srgbClr val="0000FF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73952" y="5885867"/>
            <a:ext cx="4270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Ref: </a:t>
            </a:r>
            <a:r>
              <a:rPr lang="th-TH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องนโยบายและแผนของแต่ละมหาวิทยาลัย พศ</a:t>
            </a:r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2557</a:t>
            </a:r>
            <a:endParaRPr lang="en-US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90793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1691" y="341524"/>
            <a:ext cx="1012450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8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สาเหตุและความจำเป็น</a:t>
            </a:r>
            <a:r>
              <a:rPr lang="en-US" sz="4800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 </a:t>
            </a:r>
            <a:r>
              <a:rPr lang="th-TH" sz="48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ต้องพัฒนา </a:t>
            </a:r>
            <a:r>
              <a:rPr lang="en-US" sz="66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RMUTP</a:t>
            </a:r>
            <a:endParaRPr lang="en-US" sz="6600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2352" y="1563851"/>
            <a:ext cx="114538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ารกำเนิดแห่งราชมงคล </a:t>
            </a:r>
            <a:r>
              <a:rPr lang="en-US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 อันเป็นมิ่งมงคลแห่งพระราชา</a:t>
            </a:r>
            <a:r>
              <a:rPr lang="en-US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ป็นมา ที่ภาคภูมิของ </a:t>
            </a:r>
            <a:r>
              <a:rPr lang="th-TH" sz="4000" dirty="0" err="1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สู่การเปลี่ยนแปลงจากภายนอก</a:t>
            </a:r>
            <a:endParaRPr lang="en-US" sz="4000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. </a:t>
            </a:r>
            <a:r>
              <a:rPr lang="th-TH" sz="4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พระ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คร</a:t>
            </a:r>
            <a:r>
              <a:rPr lang="en-US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ในบริบทปัจจุบัน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solidFill>
                  <a:srgbClr val="FF00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เสี่ยงที่มีผลต่อการคงอยู่ของหลักสูตร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เริ่มต้นพัฒนา </a:t>
            </a:r>
            <a:r>
              <a:rPr lang="th-TH" sz="4000" b="1" dirty="0" err="1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</a:t>
            </a:r>
            <a:r>
              <a:rPr lang="th-TH" sz="4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พระนคร สู่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อนาคตที่ยั่งยืนของ</a:t>
            </a:r>
            <a:r>
              <a:rPr lang="th-TH" sz="4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ระเทศ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ไทย</a:t>
            </a:r>
            <a:endParaRPr lang="th-TH" sz="4000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37093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6201" y="0"/>
            <a:ext cx="7401185" cy="107298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462935" y="5907900"/>
            <a:ext cx="4270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Ref: </a:t>
            </a:r>
            <a:r>
              <a:rPr lang="th-TH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องนโยบายและแผนของแต่ละมหาวิทยาลัย พศ</a:t>
            </a:r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2557</a:t>
            </a:r>
            <a:endParaRPr lang="en-US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0926" y="638978"/>
            <a:ext cx="8279845" cy="533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184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22255" y="0"/>
            <a:ext cx="84882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 (External Factors)</a:t>
            </a:r>
          </a:p>
        </p:txBody>
      </p:sp>
      <p:sp>
        <p:nvSpPr>
          <p:cNvPr id="3" name="Rectangle 2"/>
          <p:cNvSpPr/>
          <p:nvPr/>
        </p:nvSpPr>
        <p:spPr>
          <a:xfrm>
            <a:off x="772733" y="701007"/>
            <a:ext cx="986874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จัดอันดับเว็บไซต์มหาวิทยาลัยโดยระบบ 4 </a:t>
            </a:r>
            <a:r>
              <a:rPr lang="en-US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International Colleges &amp; Universities </a:t>
            </a:r>
          </a:p>
          <a:p>
            <a:pPr algn="ctr"/>
            <a:r>
              <a:rPr lang="en-US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(4icu.org) </a:t>
            </a:r>
            <a:r>
              <a:rPr lang="th-TH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ซึ่งเป็นหน่วยงานอิสระ มีสำนักงานอยู่ที่ประเทศออสเตรเลีย</a:t>
            </a:r>
            <a:endParaRPr lang="en-US" sz="28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40913" y="4829394"/>
            <a:ext cx="1117886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4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icu.org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เดือน กรกฎาคม 2014 มีสถาบันการศึกษาถูกจัดอันดับ จ านวน 11,307 แห่ง จาก 200 ประเทศ 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เทคโนโลยีราชมงคลพระนคร อยู่ใน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อันดับ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ที่ </a:t>
            </a:r>
            <a:r>
              <a:rPr lang="th-TH" sz="2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2267 ของโลก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ันดับที่ 24 ของประเทศไทย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Massachusetts Institute of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Technology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ยู่ใน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อันดับ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1 ของโลก  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Peking University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ยู่ในอันดับ 1 ของ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เอเชีย 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และ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Mahidol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University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ยู่ในอันดับ 1 ของประเทศไทย</a:t>
            </a:r>
            <a:endParaRPr lang="en-US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1890" y="1571170"/>
            <a:ext cx="6263518" cy="3245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32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05770" y="2537775"/>
            <a:ext cx="9456435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5400" b="1" dirty="0">
                <a:solidFill>
                  <a:srgbClr val="FF00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เสี่ยงที่มีผลต่อการคงอยู่ของ</a:t>
            </a:r>
            <a:r>
              <a:rPr lang="th-TH" sz="5400" b="1" dirty="0" smtClean="0">
                <a:solidFill>
                  <a:srgbClr val="FF00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หลักสูตร</a:t>
            </a:r>
            <a:endParaRPr lang="th-TH" sz="5400" dirty="0">
              <a:solidFill>
                <a:srgbClr val="FF000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687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3182" y="430423"/>
            <a:ext cx="2434106" cy="597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ของรัฐ</a:t>
            </a:r>
            <a:r>
              <a:rPr lang="th-TH" sz="800" b="1" u="sng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มหาวิทยาลัยในสังกัดของรัฐ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ุฬาลงกรณ์มหาวิทยาล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กษตรศาสต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ชียงใหม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พระจอมเกล้า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</a:t>
            </a:r>
            <a:r>
              <a:rPr lang="th-TH" sz="8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ะจอมเกล้าพระนครเหนื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ุร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า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แม่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จ้</a:t>
            </a:r>
            <a:endParaRPr lang="th-TH" sz="1200" dirty="0">
              <a:solidFill>
                <a:srgbClr val="0000FF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แม่ฟ้าหลวง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ขอนแก่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ทักษิณ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ธรรมศาสต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เรศว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ครพน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ราธิวาสราชนคร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ว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ินท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ธิ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บูรพ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พะเ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มหาจุฬาลง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ณ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วิทยาล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มกุฏ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วิทยาล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มหาสารค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มหิดล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มคำแหง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วลัยลักษณ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ศรีนครินทรวิ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ฒ</a:t>
            </a:r>
            <a:endParaRPr lang="th-TH" sz="1200" dirty="0">
              <a:solidFill>
                <a:srgbClr val="0000FF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ศิลปาก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สงขลานคร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สุโขทัยธรรมาธิราช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อุบลราชธานี</a:t>
            </a:r>
            <a:endParaRPr lang="en-US" sz="1200" dirty="0">
              <a:solidFill>
                <a:srgbClr val="0000FF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th-TH" sz="2400" b="1" dirty="0">
                <a:solidFill>
                  <a:srgbClr val="0033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28 สถาบัน</a:t>
            </a:r>
          </a:p>
        </p:txBody>
      </p:sp>
      <p:sp>
        <p:nvSpPr>
          <p:cNvPr id="3" name="Rectangle 2"/>
          <p:cNvSpPr/>
          <p:nvPr/>
        </p:nvSpPr>
        <p:spPr>
          <a:xfrm>
            <a:off x="2406087" y="430423"/>
            <a:ext cx="1944216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b="1" u="sng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endParaRPr lang="th-TH" dirty="0">
              <a:solidFill>
                <a:srgbClr val="008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ียงใหม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ียงรา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พสต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พชร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พชรบูรณ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ล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ญจ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ฬสินธุ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ำแพงเพช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จันทร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กษ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ชัยภูม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ปฐ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ราช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2" tooltip="สี"/>
              </a:rPr>
              <a:t>สี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ศรีธรรมราช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สวรรค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้านสมเด็จเจ้าพระ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ุรีรัม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ะนค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ะนครศรีอยุธ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ิบูลสงคร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ูเก็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สารค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ะล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้อยเอ็ด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นคร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ำไพ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รณี</a:t>
            </a:r>
            <a:endParaRPr lang="th-TH" sz="1200" dirty="0">
              <a:solidFill>
                <a:srgbClr val="008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ลำปาง</a:t>
            </a:r>
          </a:p>
          <a:p>
            <a:r>
              <a:rPr lang="th-TH" sz="2400" b="1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</a:t>
            </a:r>
            <a:r>
              <a:rPr lang="en-US" sz="2400" b="1" dirty="0" smtClean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r>
              <a:rPr lang="th-TH" sz="2400" b="1" dirty="0" smtClean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 </a:t>
            </a:r>
            <a:r>
              <a:rPr lang="th-TH" sz="2400" b="1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</a:p>
        </p:txBody>
      </p:sp>
      <p:sp>
        <p:nvSpPr>
          <p:cNvPr id="4" name="Rectangle 3"/>
          <p:cNvSpPr/>
          <p:nvPr/>
        </p:nvSpPr>
        <p:spPr>
          <a:xfrm>
            <a:off x="4430493" y="443301"/>
            <a:ext cx="2137728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อุดมศึกษาอื่นๆของรัฐ</a:t>
            </a:r>
            <a:endParaRPr lang="th-TH" dirty="0">
              <a:solidFill>
                <a:schemeClr val="accent6">
                  <a:lumMod val="75000"/>
                </a:scheme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ร้อยตำรว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ร้อยพระจุลจอมเกล้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เรื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เรืออากาศ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กองทัพบ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กองทัพเรื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ตำรว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ทหารอากาศ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สภากาชาดไท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แพทยศาสตร์พระมงกุฎเกล้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ดนตรี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ัลยาณิ</a:t>
            </a: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ัฒ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KMUTL</a:t>
            </a:r>
            <a:endParaRPr lang="th-TH" sz="1200" dirty="0">
              <a:solidFill>
                <a:schemeClr val="accent6">
                  <a:lumMod val="75000"/>
                </a:scheme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บิน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ลเรือน</a:t>
            </a:r>
            <a:endParaRPr lang="th-TH" sz="1200" dirty="0">
              <a:solidFill>
                <a:schemeClr val="accent6">
                  <a:lumMod val="75000"/>
                </a:scheme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พลศึกษ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ปทุมวั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พัฒ</a:t>
            </a: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บริหารศาสต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บัณฑิต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ัฒน</a:t>
            </a: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ศิลป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พระบรมราชชนก</a:t>
            </a:r>
          </a:p>
          <a:p>
            <a:r>
              <a:rPr lang="th-TH" sz="2400" b="1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18 สถาบัน</a:t>
            </a:r>
          </a:p>
        </p:txBody>
      </p:sp>
      <p:sp>
        <p:nvSpPr>
          <p:cNvPr id="5" name="Rectangle 4"/>
          <p:cNvSpPr/>
          <p:nvPr/>
        </p:nvSpPr>
        <p:spPr>
          <a:xfrm>
            <a:off x="6611794" y="404664"/>
            <a:ext cx="1800200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อกชน</a:t>
            </a:r>
            <a:endParaRPr lang="th-TH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กริ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กษมบัณฑ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จ้าพระ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ฉลิมกาญจ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นต์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อห์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มหานค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นชั่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วบ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เตอ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วสเทิร์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อเชีย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อเชียอาคเน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กรุงเทพ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กรุงเทพ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การจัดการและเทคโนโลยีอีส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ิร์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คริส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ตีย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ชินวัต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ตาป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ธุรกิจบัณฑิต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อร์ท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เชียงใหม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อร์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ก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ุง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พ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านาชาติเอเชีย-แปซิฟิ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านาชาติแสตม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ฟอร์ด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ปทุมธาน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พายัพ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พิษณุโล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ฟาฏอนี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ฟาร์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ีส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อร์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3" tooltip="ภาคกลาง"/>
              </a:rPr>
              <a:t>ภาคกลาง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4" tooltip="ภาคตะวันออกเฉียงเหนือ"/>
              </a:rPr>
              <a:t>ภาคตะวันออกเฉียงเหนือ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ังส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ตน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ธาน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วงษ์ชวลิตกุล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ศรีปทุ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สย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หอการค้าไท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หัวเฉียวเฉลิมพระเกียรต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หาดใหญ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อัสสัมชัญ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อีส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ิร์น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อเชีย</a:t>
            </a:r>
          </a:p>
          <a:p>
            <a:r>
              <a:rPr lang="th-TH" sz="2400" b="1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41 สถาบัน</a:t>
            </a:r>
          </a:p>
        </p:txBody>
      </p:sp>
      <p:sp>
        <p:nvSpPr>
          <p:cNvPr id="6" name="Rectangle 5"/>
          <p:cNvSpPr/>
          <p:nvPr/>
        </p:nvSpPr>
        <p:spPr>
          <a:xfrm>
            <a:off x="8217749" y="414057"/>
            <a:ext cx="2433076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อุดมศึกษาอื่นๆของเอกชน</a:t>
            </a:r>
            <a:endParaRPr lang="th-TH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ชียงรา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นต์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หลุยส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าธ์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ีสบางกอ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จิตรลด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พนม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ันท์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5" tooltip="ภาคใต้"/>
              </a:rPr>
              <a:t>ภาคใต้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สย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สยาม (สยาม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ค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แสงธรร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กรุงเทพสุวรรณภูม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ดุสิตธาน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6" tooltip="ทอง"/>
              </a:rPr>
              <a:t>ทอง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ุข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นครราชสีม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นานาชาติ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นต์เทเร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ซ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บัณฑิตเอเชี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ิชญ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ุทธศาสนานานาชาต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ราชพฤกษ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ลุ่มน้ำ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ิง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สัน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พล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อินเตอร์เทคลำปาง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แห่งเอเชี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แห่งอ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ยธ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ไทย-ญี่ปุ่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ยานยนต์มหาช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ันต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เรียนรู้เพื่อปวงช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จัดการปัญญา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ิวัฒน์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บัณฑิตศึกษาจุฬา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รณ์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ชต์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าค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อาศรมศิลป์</a:t>
            </a:r>
          </a:p>
          <a:p>
            <a:r>
              <a:rPr lang="th-TH" sz="2400" b="1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31 สถาบัน</a:t>
            </a:r>
          </a:p>
        </p:txBody>
      </p:sp>
      <p:sp>
        <p:nvSpPr>
          <p:cNvPr id="7" name="Rectangle 6"/>
          <p:cNvSpPr/>
          <p:nvPr/>
        </p:nvSpPr>
        <p:spPr>
          <a:xfrm>
            <a:off x="9762186" y="2044560"/>
            <a:ext cx="2429814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</a:t>
            </a:r>
            <a:endParaRPr lang="th-TH" dirty="0">
              <a:solidFill>
                <a:srgbClr val="9900CC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</a:t>
            </a: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7" tooltip="กรุงเทพ"/>
              </a:rPr>
              <a:t>กรุงเทพ</a:t>
            </a:r>
            <a:endParaRPr lang="th-TH" sz="1400" dirty="0">
              <a:solidFill>
                <a:srgbClr val="9900CC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ตะวันออ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พระนค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ธัญ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รัตนโกส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ล้าน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ศรีวิช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สุวรรณภูม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อีสาน</a:t>
            </a:r>
          </a:p>
          <a:p>
            <a:r>
              <a:rPr lang="th-TH" sz="2800" b="1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9 สถาบัน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5910" y="0"/>
            <a:ext cx="10354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2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ศึกษาในประเทศไทยที่เปิดสอน</a:t>
            </a:r>
            <a:r>
              <a:rPr lang="th-TH" sz="32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หลักสูตรปริญญาตรี 1</a:t>
            </a:r>
            <a:r>
              <a:rPr lang="en-US" sz="32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6</a:t>
            </a:r>
            <a:r>
              <a:rPr lang="th-TH" sz="32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5 </a:t>
            </a:r>
            <a:r>
              <a:rPr lang="th-TH" sz="32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ถาบัน</a:t>
            </a:r>
            <a:endParaRPr lang="en-US" sz="3200" b="1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6214" y="6465194"/>
            <a:ext cx="3245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 smtClean="0"/>
              <a:t>ที่มา </a:t>
            </a:r>
            <a:r>
              <a:rPr lang="en-US" dirty="0" smtClean="0"/>
              <a:t>: </a:t>
            </a:r>
            <a:r>
              <a:rPr lang="th-TH" dirty="0" smtClean="0"/>
              <a:t>สำนักงานสถิติแห่งชาติ 255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79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1"/>
            <a:ext cx="3600400" cy="646258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83335" y="2145167"/>
            <a:ext cx="32139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put</a:t>
            </a:r>
            <a:r>
              <a:rPr lang="th-TH" sz="28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(</a:t>
            </a:r>
            <a:r>
              <a:rPr lang="th-TH" sz="2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</a:t>
            </a:r>
            <a:r>
              <a:rPr lang="en-US" sz="2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/</a:t>
            </a:r>
            <a:r>
              <a:rPr lang="th-TH" sz="2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ปี)</a:t>
            </a:r>
            <a:endParaRPr lang="en-US" sz="2800" b="1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31065" y="3461803"/>
            <a:ext cx="278897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66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477,406 </a:t>
            </a:r>
            <a:endParaRPr lang="en-US" sz="6600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92451" y="3500439"/>
            <a:ext cx="37521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</a:t>
            </a:r>
            <a:r>
              <a:rPr lang="th-TH" sz="66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6</a:t>
            </a:r>
            <a:r>
              <a:rPr lang="en-US" sz="66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5 </a:t>
            </a:r>
            <a:r>
              <a:rPr lang="th-TH" sz="6600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ถาบัน</a:t>
            </a:r>
            <a:endParaRPr lang="en-US" sz="6600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01948" y="4935904"/>
            <a:ext cx="1800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*</a:t>
            </a:r>
            <a:r>
              <a:rPr lang="th-TH" sz="4400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ว่างงาน </a:t>
            </a:r>
            <a:endParaRPr lang="en-US" sz="4400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68776" y="5373111"/>
            <a:ext cx="3059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5400" dirty="0" smtClean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13,000 </a:t>
            </a:r>
            <a:r>
              <a:rPr lang="th-TH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</a:t>
            </a:r>
            <a:endParaRPr lang="en-US" sz="5400" dirty="0">
              <a:solidFill>
                <a:srgbClr val="FF0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85634" y="2158046"/>
            <a:ext cx="33657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Proces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559351" y="3551955"/>
            <a:ext cx="2664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.......</a:t>
            </a:r>
            <a:r>
              <a:rPr lang="en-US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?</a:t>
            </a:r>
            <a:r>
              <a:rPr lang="th-TH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.......คน</a:t>
            </a:r>
            <a:endParaRPr lang="en-US" sz="5400" dirty="0">
              <a:solidFill>
                <a:srgbClr val="FF0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45253" y="5099392"/>
            <a:ext cx="3131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800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ตกงานสะสมถึงปีปัจจุบัน</a:t>
            </a:r>
            <a:endParaRPr lang="en-US" sz="2800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3432915" y="4040785"/>
            <a:ext cx="720080" cy="80455"/>
          </a:xfrm>
          <a:prstGeom prst="rightArrow">
            <a:avLst/>
          </a:prstGeom>
          <a:solidFill>
            <a:srgbClr val="0080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7667866" y="4022639"/>
            <a:ext cx="648072" cy="111479"/>
          </a:xfrm>
          <a:prstGeom prst="rightArrow">
            <a:avLst/>
          </a:prstGeom>
          <a:solidFill>
            <a:srgbClr val="0080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959144" y="2106531"/>
            <a:ext cx="4232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Output</a:t>
            </a:r>
            <a:r>
              <a:rPr lang="en-US" sz="2400" b="1" dirty="0" smtClean="0">
                <a:solidFill>
                  <a:srgbClr val="0033CC"/>
                </a:solidFill>
                <a:latin typeface="Arial Rounded MT Bold" panose="020F0704030504030204" pitchFamily="34" charset="0"/>
                <a:cs typeface="DB Chidlom X Bold" panose="02000806000000020004" pitchFamily="2" charset="-34"/>
              </a:rPr>
              <a:t>(KM)</a:t>
            </a:r>
            <a:endParaRPr lang="en-US" sz="2400" b="1" dirty="0">
              <a:solidFill>
                <a:srgbClr val="0033CC"/>
              </a:solidFill>
              <a:latin typeface="Arial Rounded MT Bold" panose="020F0704030504030204" pitchFamily="34" charset="0"/>
              <a:cs typeface="DB Chidlom X Bold" panose="02000806000000020004" pitchFamily="2" charset="-3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-437882" y="0"/>
            <a:ext cx="497489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4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ผลิต</a:t>
            </a:r>
          </a:p>
          <a:p>
            <a:pPr algn="ctr"/>
            <a:r>
              <a:rPr lang="th-TH" sz="32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ัณฑิต</a:t>
            </a:r>
            <a:r>
              <a:rPr lang="th-TH" sz="3200" dirty="0" smtClean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ระดับปริญญา</a:t>
            </a:r>
            <a:r>
              <a:rPr lang="th-TH" sz="32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ตรี</a:t>
            </a:r>
          </a:p>
          <a:p>
            <a:pPr algn="ctr"/>
            <a:r>
              <a:rPr lang="th-TH" sz="3200" dirty="0" smtClean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65 สถาบัน</a:t>
            </a:r>
            <a:r>
              <a:rPr lang="th-TH" sz="32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ในประเทศไทย</a:t>
            </a:r>
            <a:endParaRPr lang="en-US" sz="3200" dirty="0">
              <a:solidFill>
                <a:srgbClr val="00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7530894" y="2829526"/>
            <a:ext cx="720080" cy="216024"/>
          </a:xfrm>
          <a:prstGeom prst="rightArrow">
            <a:avLst/>
          </a:prstGeom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3469204" y="2842405"/>
            <a:ext cx="720080" cy="216024"/>
          </a:xfrm>
          <a:prstGeom prst="rightArrow">
            <a:avLst/>
          </a:prstGeom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92101" y="5840983"/>
            <a:ext cx="4536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800" dirty="0">
                <a:solidFill>
                  <a:prstClr val="black"/>
                </a:solidFill>
              </a:rPr>
              <a:t>ที่มา </a:t>
            </a:r>
            <a:r>
              <a:rPr lang="en-US" sz="2800" dirty="0">
                <a:solidFill>
                  <a:prstClr val="black"/>
                </a:solidFill>
              </a:rPr>
              <a:t>: </a:t>
            </a:r>
            <a:r>
              <a:rPr lang="th-TH" sz="2800" dirty="0">
                <a:solidFill>
                  <a:prstClr val="black"/>
                </a:solidFill>
              </a:rPr>
              <a:t>สำนักงานสถิติแห่งชาติ </a:t>
            </a:r>
            <a:r>
              <a:rPr lang="th-TH" sz="2800" dirty="0" smtClean="0">
                <a:solidFill>
                  <a:prstClr val="black"/>
                </a:solidFill>
              </a:rPr>
              <a:t>2557 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452908" y="3335931"/>
            <a:ext cx="27363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 = 3</a:t>
            </a:r>
            <a:r>
              <a:rPr lang="th-TH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,250</a:t>
            </a:r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</a:t>
            </a:r>
            <a:endParaRPr lang="en-US" sz="28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079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05968" y="85785"/>
            <a:ext cx="77048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ดังนั้น</a:t>
            </a:r>
            <a:r>
              <a:rPr lang="en-US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ทุก</a:t>
            </a:r>
            <a:r>
              <a:rPr lang="th-TH" sz="36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หลักสูตรจึงควรจะต้องวิเคราะห์</a:t>
            </a:r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หลักสูตร</a:t>
            </a:r>
            <a:r>
              <a:rPr lang="en-US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 </a:t>
            </a:r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ให้</a:t>
            </a:r>
            <a:r>
              <a:rPr lang="th-TH" sz="36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มีเอกลักษณ์เฉพาะเพื่อ</a:t>
            </a:r>
            <a:r>
              <a:rPr lang="th-TH" sz="3600" b="1" u="sng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ุณภาพที่สูงกว่า</a:t>
            </a:r>
            <a:endParaRPr lang="en-US" sz="3600" b="1" u="sng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2050" name="Picture 2" descr="http://www.kanomodel.com/wp-content/uploads/2014/03/figure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2090" y="1421581"/>
            <a:ext cx="4620074" cy="4510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7360362" y="3883629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DB Chidlom X" panose="02000506000000020004" pitchFamily="2" charset="-34"/>
                <a:cs typeface="DB Chidlom X" panose="02000506000000020004" pitchFamily="2" charset="-34"/>
              </a:rPr>
              <a:t>a theory of product development and</a:t>
            </a:r>
            <a:r>
              <a:rPr lang="en-US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 customer satisfaction developed </a:t>
            </a:r>
            <a:r>
              <a:rPr lang="en-US" dirty="0">
                <a:latin typeface="DB Chidlom X" panose="02000506000000020004" pitchFamily="2" charset="-34"/>
                <a:cs typeface="DB Chidlom X" panose="02000506000000020004" pitchFamily="2" charset="-34"/>
              </a:rPr>
              <a:t>in the 1980s by Professor </a:t>
            </a:r>
            <a:r>
              <a:rPr lang="en-US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Noriaki</a:t>
            </a:r>
            <a:r>
              <a:rPr lang="en-US" dirty="0">
                <a:latin typeface="DB Chidlom X" panose="02000506000000020004" pitchFamily="2" charset="-34"/>
                <a:cs typeface="DB Chidlom X" panose="02000506000000020004" pitchFamily="2" charset="-34"/>
              </a:rPr>
              <a:t> Kano,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0676" y="0"/>
            <a:ext cx="89681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en-US" sz="7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820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ched Right Arrow 1"/>
          <p:cNvSpPr/>
          <p:nvPr/>
        </p:nvSpPr>
        <p:spPr>
          <a:xfrm>
            <a:off x="1847528" y="3482863"/>
            <a:ext cx="3312368" cy="864096"/>
          </a:xfrm>
          <a:prstGeom prst="notchedRightArrow">
            <a:avLst/>
          </a:prstGeom>
          <a:gradFill>
            <a:gsLst>
              <a:gs pos="32000">
                <a:srgbClr val="CC00CC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Notched Right Arrow 2"/>
          <p:cNvSpPr/>
          <p:nvPr/>
        </p:nvSpPr>
        <p:spPr>
          <a:xfrm>
            <a:off x="4979390" y="3377484"/>
            <a:ext cx="1360539" cy="1080120"/>
          </a:xfrm>
          <a:prstGeom prst="notchedRightArrow">
            <a:avLst/>
          </a:prstGeom>
          <a:solidFill>
            <a:srgbClr val="7030A0"/>
          </a:solidFill>
          <a:ln w="25400">
            <a:gradFill>
              <a:gsLst>
                <a:gs pos="0">
                  <a:srgbClr val="7030A0"/>
                </a:gs>
                <a:gs pos="29000">
                  <a:schemeClr val="accent1">
                    <a:lumMod val="45000"/>
                    <a:lumOff val="55000"/>
                  </a:schemeClr>
                </a:gs>
                <a:gs pos="48000">
                  <a:srgbClr val="00B050"/>
                </a:gs>
                <a:gs pos="100000">
                  <a:srgbClr val="00B05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Notched Right Arrow 3"/>
          <p:cNvSpPr/>
          <p:nvPr/>
        </p:nvSpPr>
        <p:spPr>
          <a:xfrm>
            <a:off x="6119446" y="3324896"/>
            <a:ext cx="1560730" cy="1185499"/>
          </a:xfrm>
          <a:prstGeom prst="notchedRightArrow">
            <a:avLst/>
          </a:prstGeom>
          <a:solidFill>
            <a:srgbClr val="92D050"/>
          </a:solidFill>
          <a:ln>
            <a:gradFill>
              <a:gsLst>
                <a:gs pos="0">
                  <a:srgbClr val="00B050"/>
                </a:gs>
                <a:gs pos="41000">
                  <a:srgbClr val="9900CC"/>
                </a:gs>
                <a:gs pos="78000">
                  <a:srgbClr val="9900CC"/>
                </a:gs>
                <a:gs pos="100000">
                  <a:srgbClr val="9900CC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Notched Right Arrow 4"/>
          <p:cNvSpPr/>
          <p:nvPr/>
        </p:nvSpPr>
        <p:spPr>
          <a:xfrm>
            <a:off x="7329268" y="3068961"/>
            <a:ext cx="2609624" cy="1689555"/>
          </a:xfrm>
          <a:prstGeom prst="notchedRightArrow">
            <a:avLst/>
          </a:prstGeom>
          <a:solidFill>
            <a:srgbClr val="008000"/>
          </a:solidFill>
          <a:ln>
            <a:gradFill>
              <a:gsLst>
                <a:gs pos="0">
                  <a:srgbClr val="9900CC"/>
                </a:gs>
                <a:gs pos="70000">
                  <a:srgbClr val="9900CC"/>
                </a:gs>
                <a:gs pos="90000">
                  <a:srgbClr val="008080"/>
                </a:gs>
                <a:gs pos="100000">
                  <a:srgbClr val="00B05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639616" y="2636913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4800" b="1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3,500</a:t>
            </a:r>
            <a:r>
              <a:rPr lang="en-US" sz="4800" b="1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4800" b="1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 </a:t>
            </a:r>
            <a:endParaRPr lang="en-US" sz="4800" b="1" dirty="0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96000" y="2564905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4800" b="1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30,000 คน </a:t>
            </a:r>
            <a:endParaRPr lang="en-US" sz="4800" b="1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5087888" y="2420888"/>
            <a:ext cx="0" cy="1224136"/>
          </a:xfrm>
          <a:prstGeom prst="line">
            <a:avLst/>
          </a:prstGeom>
          <a:ln w="11747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2279576" y="2662871"/>
            <a:ext cx="2808312" cy="0"/>
          </a:xfrm>
          <a:prstGeom prst="straightConnector1">
            <a:avLst/>
          </a:prstGeom>
          <a:ln w="57150">
            <a:solidFill>
              <a:srgbClr val="CC00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639616" y="2132857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0 ปี (</a:t>
            </a:r>
            <a:r>
              <a:rPr lang="en-US" sz="24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548-2557</a:t>
            </a:r>
            <a:r>
              <a:rPr lang="th-TH" sz="24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)</a:t>
            </a:r>
            <a:endParaRPr lang="en-US" sz="2400" dirty="0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5159896" y="2636912"/>
            <a:ext cx="4608512" cy="24836"/>
          </a:xfrm>
          <a:prstGeom prst="straightConnector1">
            <a:avLst/>
          </a:prstGeom>
          <a:ln w="57150">
            <a:solidFill>
              <a:srgbClr val="800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312024" y="2132857"/>
            <a:ext cx="2520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0 ปี (</a:t>
            </a:r>
            <a:r>
              <a:rPr lang="en-US" sz="24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558-256</a:t>
            </a:r>
            <a:r>
              <a:rPr lang="th-TH" sz="24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7)</a:t>
            </a:r>
            <a:endParaRPr lang="en-US" sz="2400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63552" y="13602"/>
            <a:ext cx="71287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u="sng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th-TH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40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ถิติการผลิตบัณฑิต</a:t>
            </a:r>
            <a:endParaRPr lang="en-US" sz="4000" dirty="0">
              <a:solidFill>
                <a:srgbClr val="00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5876" y="4804795"/>
            <a:ext cx="10668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400" dirty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ที่ผ่านมา บัณฑิต</a:t>
            </a:r>
            <a:r>
              <a:rPr lang="th-TH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ุณภาพ (มืออาชีพ) เป็นใคร</a:t>
            </a:r>
            <a:r>
              <a:rPr lang="en-US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?</a:t>
            </a:r>
            <a:r>
              <a:rPr lang="th-TH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และ หลักสูตรในอนาคตที่สอดคล้องกับการเปลี่ยนแปลง ควรเป็นอย่างไร</a:t>
            </a:r>
            <a:r>
              <a:rPr lang="en-US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?</a:t>
            </a:r>
            <a:endParaRPr lang="en-US" sz="4400" dirty="0">
              <a:solidFill>
                <a:srgbClr val="0000FF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27648" y="1412777"/>
            <a:ext cx="17281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60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อดีต</a:t>
            </a:r>
            <a:endParaRPr lang="en-US" sz="6000" dirty="0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439816" y="1412777"/>
            <a:ext cx="2376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6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ปัจจุบัน</a:t>
            </a:r>
            <a:endParaRPr lang="en-US" sz="6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896200" y="1412777"/>
            <a:ext cx="2376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60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อนาคต</a:t>
            </a:r>
            <a:endParaRPr lang="en-US" sz="6000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5186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698" y="1231622"/>
            <a:ext cx="4707726" cy="412598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864435" y="1180107"/>
            <a:ext cx="4572000" cy="440120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การจัดอันดับจากทั้งหน่วยงานระดับชาติและนานาชาติ</a:t>
            </a:r>
          </a:p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ต้องพิจารณาหลายสถาบัน ได้แก่ </a:t>
            </a:r>
            <a:endParaRPr lang="en-US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สำนั กงานคณะกรรมการการอุดมศึกษา (สกอ. )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สำนักงานรับรองมาตรฐานและประเมินคุณภาพการ</a:t>
            </a:r>
          </a:p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    ศึกษา ( สมศ. 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การประเมินผลงานวิจัยเชิงวิชาการโดย </a:t>
            </a:r>
            <a:r>
              <a:rPr lang="th-TH" sz="2000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สกว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. นิตยสารเอเชีย</a:t>
            </a:r>
            <a:r>
              <a:rPr lang="th-TH" sz="2000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วีก</a:t>
            </a:r>
            <a:endParaRPr lang="th-TH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นิตยสารไทมส์ ไฮเออร์ เอ</a:t>
            </a:r>
            <a:r>
              <a:rPr lang="th-TH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ดูเคชันซัป</a:t>
            </a: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พลี</a:t>
            </a:r>
            <a:r>
              <a:rPr lang="th-TH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เมนต์</a:t>
            </a: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(</a:t>
            </a:r>
            <a:r>
              <a:rPr lang="en-US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The Times Higher Education Supplement) </a:t>
            </a:r>
            <a:endParaRPr lang="th-TH" sz="2000" u="sng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บริษัท </a:t>
            </a:r>
            <a:r>
              <a:rPr lang="en-US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Quacquarelli</a:t>
            </a:r>
            <a:r>
              <a:rPr lang="en-US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 Symonds (QS) </a:t>
            </a:r>
            <a:endParaRPr lang="th-TH" sz="2000" u="sng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สถาบัน </a:t>
            </a:r>
            <a:r>
              <a:rPr lang="en-US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SCImago</a:t>
            </a:r>
            <a:r>
              <a:rPr lang="en-US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 Institutions Ranking (SIR) </a:t>
            </a:r>
            <a:endParaRPr lang="th-TH" sz="2000" u="sng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เว็บโอเมตริกซ์ (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Webometrics) </a:t>
            </a:r>
            <a:endParaRPr lang="th-TH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และ การจัดอันดับเว็บไซต์ โดย 4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International Colleges &amp; Universities (4icu.org)</a:t>
            </a:r>
          </a:p>
        </p:txBody>
      </p:sp>
      <p:sp>
        <p:nvSpPr>
          <p:cNvPr id="4" name="Rectangle 3"/>
          <p:cNvSpPr/>
          <p:nvPr/>
        </p:nvSpPr>
        <p:spPr>
          <a:xfrm>
            <a:off x="3716251" y="190989"/>
            <a:ext cx="5073825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</a:t>
            </a:r>
          </a:p>
        </p:txBody>
      </p:sp>
    </p:spTree>
    <p:extLst>
      <p:ext uri="{BB962C8B-B14F-4D97-AF65-F5344CB8AC3E}">
        <p14:creationId xmlns:p14="http://schemas.microsoft.com/office/powerpoint/2010/main" val="367582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393" y="1634415"/>
            <a:ext cx="8306922" cy="385533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182406" y="3318127"/>
            <a:ext cx="8064896" cy="1794199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544459" y="522373"/>
            <a:ext cx="947567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</a:t>
            </a:r>
            <a:r>
              <a:rPr lang="en-US" sz="4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?</a:t>
            </a:r>
            <a:r>
              <a:rPr lang="th-TH" sz="4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4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And How to check it?</a:t>
            </a:r>
            <a:endParaRPr lang="en-US" sz="4800" b="1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5077" y="2756037"/>
            <a:ext cx="2887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แนวทางการจัดอันดับของมหาวิทยาลัย</a:t>
            </a:r>
          </a:p>
          <a:p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เช่น แนวทางของ ม</a:t>
            </a:r>
            <a:r>
              <a:rPr lang="en-US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</a:t>
            </a:r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หิดล</a:t>
            </a:r>
            <a:r>
              <a:rPr lang="en-US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เป็นต้น</a:t>
            </a:r>
            <a:endParaRPr lang="en-US" b="1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485505" y="3318127"/>
            <a:ext cx="972590" cy="49741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07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719736" y="231973"/>
            <a:ext cx="557075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at do we want to be?</a:t>
            </a:r>
          </a:p>
        </p:txBody>
      </p:sp>
      <p:sp>
        <p:nvSpPr>
          <p:cNvPr id="4" name="Rectangle 3"/>
          <p:cNvSpPr/>
          <p:nvPr/>
        </p:nvSpPr>
        <p:spPr>
          <a:xfrm>
            <a:off x="798490" y="1206715"/>
            <a:ext cx="1076673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</a:t>
            </a:r>
            <a:r>
              <a:rPr lang="th-TH" sz="32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เทคโนโลยีชั้นนำ</a:t>
            </a:r>
            <a:r>
              <a:rPr lang="en-US" sz="32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ด้านการผลิต</a:t>
            </a:r>
            <a:r>
              <a:rPr lang="th-TH" sz="32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บัณฑิตมืออาชีพ</a:t>
            </a:r>
          </a:p>
          <a:p>
            <a:pPr algn="ctr"/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(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A Leading Technology University in Producing Professional Graduates)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4007768" y="2202748"/>
            <a:ext cx="864096" cy="578181"/>
          </a:xfrm>
          <a:prstGeom prst="straightConnector1">
            <a:avLst/>
          </a:prstGeom>
          <a:ln w="635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04409" y="2825022"/>
            <a:ext cx="2903359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University Ranking?</a:t>
            </a: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Thailand ?</a:t>
            </a: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Asia?</a:t>
            </a: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World?</a:t>
            </a:r>
            <a:endParaRPr lang="th-TH" sz="28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And when? </a:t>
            </a:r>
            <a:r>
              <a:rPr lang="en-US" sz="2800" b="1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Number 1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7383188" y="2202748"/>
            <a:ext cx="1008112" cy="506173"/>
          </a:xfrm>
          <a:prstGeom prst="straightConnector1">
            <a:avLst/>
          </a:prstGeom>
          <a:ln w="635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640946" y="2748078"/>
            <a:ext cx="61689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ืออาชีพ</a:t>
            </a:r>
            <a:r>
              <a:rPr lang="en-US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ือ</a:t>
            </a:r>
          </a:p>
          <a:p>
            <a:pPr algn="ctr"/>
            <a:r>
              <a:rPr lang="en-US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ิดเองได้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ป็น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ับผิดชอบ</a:t>
            </a:r>
            <a:r>
              <a:rPr lang="en-US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*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5114" y="3901150"/>
            <a:ext cx="2390970" cy="102280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951226" y="3948407"/>
            <a:ext cx="23262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(Ref: Productivity World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09855" y="4959105"/>
            <a:ext cx="47408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800" b="1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</a:p>
          <a:p>
            <a:pPr algn="ctr"/>
            <a:r>
              <a:rPr lang="en-US" sz="2800" b="1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(Think Creatively do Professionally) </a:t>
            </a:r>
            <a:endParaRPr lang="th-TH" sz="2800" b="1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034990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4573" y="2061976"/>
            <a:ext cx="11907427" cy="21236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h-TH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การกำเนิดแห่งราชมงคล </a:t>
            </a:r>
            <a:endParaRPr lang="th-TH" sz="6600" b="1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algn="ctr"/>
            <a:r>
              <a:rPr lang="en-US" sz="6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 อันเป็นมิ่งมงคลแห่งพระราชา</a:t>
            </a:r>
            <a:r>
              <a:rPr lang="en-US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th-TH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0973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625404" y="207818"/>
            <a:ext cx="624081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at do we want to be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28177" y="1264675"/>
            <a:ext cx="11816861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ด้านเทคโนโลยี อันดับ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1-5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ของประเทศไทย</a:t>
            </a:r>
          </a:p>
          <a:p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ด้านเทคโนโลยี อันดับ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1-400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ของ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ASIA</a:t>
            </a:r>
          </a:p>
          <a:p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ด้านเทคโนโลยี อันดับ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1-1000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ของ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world ranking</a:t>
            </a:r>
          </a:p>
          <a:p>
            <a:endParaRPr lang="th-TH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th-TH" sz="4000" b="1" dirty="0" smtClean="0">
                <a:solidFill>
                  <a:srgbClr val="0066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บัณฑิต</a:t>
            </a:r>
            <a:r>
              <a:rPr lang="th-TH" sz="32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32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ิดเองได้ 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</a:t>
            </a:r>
            <a:r>
              <a:rPr lang="th-TH" sz="32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ป็น 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</a:t>
            </a:r>
            <a:r>
              <a:rPr lang="th-TH" sz="32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ับผิดชอบ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en-US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32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= </a:t>
            </a:r>
            <a:r>
              <a:rPr lang="th-TH" sz="32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ิดอย่างสร้างสรรค์ ทำอย่างมืออาชีพ</a:t>
            </a:r>
            <a:endParaRPr lang="en-US" sz="32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ที่มีบริษัทเอกชนดำเนินการความร่วมมือวิชาการ</a:t>
            </a:r>
            <a:r>
              <a:rPr lang="th-TH" sz="32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ากที่สุด </a:t>
            </a:r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สิทธิบัตรการประดิษฐ์</a:t>
            </a:r>
            <a:r>
              <a:rPr lang="th-TH" sz="32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ากที่สุด </a:t>
            </a:r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นักศึกษาตกงานน้อยที่สุด ค่าตอบแทนเฉลี่ยสูงสุด มีผู้ประกอบการใหม่</a:t>
            </a:r>
            <a:r>
              <a:rPr lang="th-TH" sz="32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ากที่สุด </a:t>
            </a:r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เครือข่ายกับภาคอุตสาหกรรมที่เข้มแข็งที่สุด </a:t>
            </a:r>
          </a:p>
        </p:txBody>
      </p:sp>
    </p:spTree>
    <p:extLst>
      <p:ext uri="{BB962C8B-B14F-4D97-AF65-F5344CB8AC3E}">
        <p14:creationId xmlns:p14="http://schemas.microsoft.com/office/powerpoint/2010/main" val="244893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3358" y="1284663"/>
            <a:ext cx="5498159" cy="4248150"/>
          </a:xfrm>
          <a:prstGeom prst="rect">
            <a:avLst/>
          </a:prstGeom>
          <a:effectLst>
            <a:outerShdw blurRad="50800" dist="50800" dir="5400000" algn="ctr" rotWithShape="0">
              <a:schemeClr val="bg1"/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592" y="1284663"/>
            <a:ext cx="5905500" cy="42481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8682" y="165083"/>
            <a:ext cx="6852498" cy="145707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08369" y="4156363"/>
            <a:ext cx="28392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ailand manufacturing</a:t>
            </a:r>
          </a:p>
          <a:p>
            <a:r>
              <a:rPr lang="en-US" dirty="0" smtClean="0"/>
              <a:t>Or Majority of Thailand SME</a:t>
            </a:r>
            <a:endParaRPr lang="en-US" dirty="0"/>
          </a:p>
        </p:txBody>
      </p:sp>
      <p:sp>
        <p:nvSpPr>
          <p:cNvPr id="6" name="Right Arrow 5"/>
          <p:cNvSpPr/>
          <p:nvPr/>
        </p:nvSpPr>
        <p:spPr>
          <a:xfrm rot="18999024">
            <a:off x="4445104" y="3235499"/>
            <a:ext cx="1866553" cy="564746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/>
          <p:cNvSpPr/>
          <p:nvPr/>
        </p:nvSpPr>
        <p:spPr>
          <a:xfrm rot="13365290">
            <a:off x="863204" y="3295109"/>
            <a:ext cx="1866553" cy="564746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>
            <a:off x="6375415" y="2538887"/>
            <a:ext cx="730897" cy="11685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5697223" y="4063883"/>
            <a:ext cx="6328522" cy="1587732"/>
          </a:xfrm>
          <a:prstGeom prst="ellipse">
            <a:avLst/>
          </a:pr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xplosion 1 9"/>
          <p:cNvSpPr/>
          <p:nvPr/>
        </p:nvSpPr>
        <p:spPr>
          <a:xfrm>
            <a:off x="2190142" y="3508482"/>
            <a:ext cx="2762830" cy="1203283"/>
          </a:xfrm>
          <a:prstGeom prst="irregularSeal1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1688239" y="1277655"/>
            <a:ext cx="2206548" cy="2797925"/>
            <a:chOff x="1688239" y="1277655"/>
            <a:chExt cx="2206548" cy="2797925"/>
          </a:xfrm>
        </p:grpSpPr>
        <p:sp>
          <p:nvSpPr>
            <p:cNvPr id="11" name="Curved Up Arrow 10"/>
            <p:cNvSpPr/>
            <p:nvPr/>
          </p:nvSpPr>
          <p:spPr>
            <a:xfrm rot="12576828">
              <a:off x="2104410" y="3083370"/>
              <a:ext cx="1686026" cy="599017"/>
            </a:xfrm>
            <a:prstGeom prst="curvedUpArrow">
              <a:avLst/>
            </a:prstGeom>
            <a:gradFill>
              <a:gsLst>
                <a:gs pos="0">
                  <a:schemeClr val="accent2">
                    <a:tint val="50000"/>
                    <a:satMod val="300000"/>
                  </a:schemeClr>
                </a:gs>
                <a:gs pos="30000">
                  <a:schemeClr val="accent2">
                    <a:tint val="37000"/>
                    <a:satMod val="300000"/>
                    <a:alpha val="22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Curved Up Arrow 12"/>
            <p:cNvSpPr/>
            <p:nvPr/>
          </p:nvSpPr>
          <p:spPr>
            <a:xfrm rot="12922691">
              <a:off x="1688239" y="2644236"/>
              <a:ext cx="2206548" cy="720625"/>
            </a:xfrm>
            <a:prstGeom prst="curvedUpArrow">
              <a:avLst/>
            </a:prstGeom>
            <a:gradFill>
              <a:gsLst>
                <a:gs pos="0">
                  <a:schemeClr val="accent2">
                    <a:tint val="50000"/>
                    <a:satMod val="300000"/>
                  </a:schemeClr>
                </a:gs>
                <a:gs pos="60000">
                  <a:schemeClr val="accent2">
                    <a:tint val="37000"/>
                    <a:satMod val="300000"/>
                    <a:alpha val="23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</a:gradFill>
            <a:ln>
              <a:solidFill>
                <a:schemeClr val="accent2">
                  <a:shade val="95000"/>
                  <a:satMod val="105000"/>
                  <a:alpha val="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Curved Up Arrow 13"/>
            <p:cNvSpPr/>
            <p:nvPr/>
          </p:nvSpPr>
          <p:spPr>
            <a:xfrm rot="13752891">
              <a:off x="1515963" y="2069817"/>
              <a:ext cx="2797925" cy="1213602"/>
            </a:xfrm>
            <a:prstGeom prst="curvedUpArrow">
              <a:avLst/>
            </a:prstGeom>
            <a:gradFill>
              <a:gsLst>
                <a:gs pos="0">
                  <a:schemeClr val="accent2">
                    <a:tint val="50000"/>
                    <a:satMod val="300000"/>
                    <a:alpha val="0"/>
                  </a:schemeClr>
                </a:gs>
                <a:gs pos="100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026433" y="1344839"/>
            <a:ext cx="2348319" cy="2886876"/>
            <a:chOff x="3026433" y="1344839"/>
            <a:chExt cx="2348319" cy="2886876"/>
          </a:xfrm>
        </p:grpSpPr>
        <p:sp>
          <p:nvSpPr>
            <p:cNvPr id="20" name="Curved Down Arrow 19"/>
            <p:cNvSpPr/>
            <p:nvPr/>
          </p:nvSpPr>
          <p:spPr>
            <a:xfrm rot="19775803">
              <a:off x="3188969" y="3035849"/>
              <a:ext cx="1764738" cy="659533"/>
            </a:xfrm>
            <a:prstGeom prst="curvedDownArrow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Curved Down Arrow 20"/>
            <p:cNvSpPr/>
            <p:nvPr/>
          </p:nvSpPr>
          <p:spPr>
            <a:xfrm rot="19303678">
              <a:off x="3026433" y="2797898"/>
              <a:ext cx="2348319" cy="659533"/>
            </a:xfrm>
            <a:prstGeom prst="curvedDownArrow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Curved Down Arrow 21"/>
            <p:cNvSpPr/>
            <p:nvPr/>
          </p:nvSpPr>
          <p:spPr>
            <a:xfrm rot="18624770">
              <a:off x="2695056" y="2302165"/>
              <a:ext cx="2886876" cy="972224"/>
            </a:xfrm>
            <a:prstGeom prst="curvedDownArrow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9669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1548" y="1028653"/>
            <a:ext cx="3193095" cy="26012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9812" y="2025508"/>
            <a:ext cx="2202188" cy="9576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958" y="2746844"/>
            <a:ext cx="1647974" cy="131838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184962"/>
            <a:ext cx="100960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40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่งเสริมการพัฒนาสินค้าไทย แบรนด์ไทย บัณฑิตไทย ไปสู่สากล</a:t>
            </a:r>
            <a:endParaRPr lang="en-US" sz="4000" b="1" dirty="0">
              <a:solidFill>
                <a:srgbClr val="0000FF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5774" y="3012079"/>
            <a:ext cx="4786226" cy="230599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01174" y="946992"/>
            <a:ext cx="1734709" cy="138056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693" y="1238558"/>
            <a:ext cx="2111459" cy="15854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8481" y="1217952"/>
            <a:ext cx="1972700" cy="1594994"/>
          </a:xfrm>
          <a:prstGeom prst="rect">
            <a:avLst/>
          </a:prstGeom>
        </p:spPr>
      </p:pic>
      <p:sp>
        <p:nvSpPr>
          <p:cNvPr id="14" name="Right Arrow 13"/>
          <p:cNvSpPr/>
          <p:nvPr/>
        </p:nvSpPr>
        <p:spPr>
          <a:xfrm>
            <a:off x="4583017" y="3034920"/>
            <a:ext cx="1564395" cy="993675"/>
          </a:xfrm>
          <a:prstGeom prst="rightArrow">
            <a:avLst/>
          </a:prstGeom>
          <a:solidFill>
            <a:srgbClr val="0000FF"/>
          </a:solidFill>
          <a:ln w="31750"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881528" y="5339918"/>
            <a:ext cx="48109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ริ่มต้นและขยายความร่วมมือไปยังโรงงานไทยอื่นๆ</a:t>
            </a:r>
            <a:endParaRPr lang="en-US" sz="2400" b="1" dirty="0">
              <a:solidFill>
                <a:schemeClr val="tx2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693" y="4028595"/>
            <a:ext cx="2320697" cy="174052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999474" y="5762080"/>
            <a:ext cx="10842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ดังนั้นต้องเน้นนักศึกษาที่ต้องฝึกฝนจริงในอุตสาหกรรมผ่านระบบ </a:t>
            </a:r>
            <a:r>
              <a:rPr lang="en-US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WIL+ STEM </a:t>
            </a:r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พื่อให้ นศ</a:t>
            </a:r>
            <a:r>
              <a:rPr lang="en-US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</a:t>
            </a:r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งานได้ทันที</a:t>
            </a:r>
            <a:endParaRPr lang="en-US" sz="2400" b="1" dirty="0">
              <a:solidFill>
                <a:schemeClr val="tx2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3555" y="751010"/>
            <a:ext cx="47796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2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ริษัท อา</a:t>
            </a:r>
            <a:r>
              <a:rPr lang="th-TH" sz="3200" dirty="0" err="1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ซาฮี</a:t>
            </a:r>
            <a:r>
              <a:rPr lang="th-TH" sz="32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ไทย-</a:t>
            </a:r>
            <a:r>
              <a:rPr lang="th-TH" sz="3200" dirty="0" err="1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อัลลอยย์</a:t>
            </a:r>
            <a:r>
              <a:rPr lang="th-TH" sz="32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จำกัด</a:t>
            </a:r>
            <a:endParaRPr lang="en-US" sz="3200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33601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96506" y="143593"/>
            <a:ext cx="57903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How will we get there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506" y="913790"/>
            <a:ext cx="6197674" cy="50522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6281" y="2156609"/>
            <a:ext cx="3090940" cy="256663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168731" y="1522626"/>
            <a:ext cx="26260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08372" fontAlgn="base" hangingPunct="0">
              <a:spcBef>
                <a:spcPts val="1477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RMUTP Liquid </a:t>
            </a:r>
            <a:r>
              <a:rPr lang="en-US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hase </a:t>
            </a:r>
            <a:r>
              <a:rPr lang="en-US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University</a:t>
            </a:r>
            <a:endParaRPr lang="en-US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36281" y="4987898"/>
            <a:ext cx="39756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onnected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world career parts</a:t>
            </a:r>
            <a:endParaRPr lang="en-US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ducation Network and Life long learning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co-Centric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ower of University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429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738131" y="0"/>
            <a:ext cx="10225150" cy="806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RMUTP </a:t>
            </a:r>
            <a:r>
              <a:rPr lang="th-TH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หนทางสู่การก้าวกระโดด ต้องการแนวคิดเชิง</a:t>
            </a:r>
            <a:r>
              <a:rPr lang="th-TH" sz="40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บูรณา</a:t>
            </a:r>
            <a:r>
              <a:rPr lang="th-TH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</a:t>
            </a:r>
            <a:r>
              <a:rPr 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“Total Quality Management</a:t>
            </a:r>
            <a:r>
              <a:rPr lang="en-US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: TQM</a:t>
            </a: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  <a:endParaRPr lang="th-TH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6" name="Picture 6" descr="Quantum Le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2245" y="1268760"/>
            <a:ext cx="5828091" cy="5456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6600057" y="836713"/>
            <a:ext cx="22926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i="1" dirty="0">
                <a:solidFill>
                  <a:srgbClr val="000099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Quantum Jump …</a:t>
            </a:r>
            <a:endParaRPr lang="th-TH" sz="3200" b="1" dirty="0">
              <a:solidFill>
                <a:srgbClr val="000099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3453148" y="2924945"/>
            <a:ext cx="3506948" cy="3800621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88900">
            <a:solidFill>
              <a:srgbClr val="993366"/>
            </a:solidFill>
            <a:round/>
            <a:headEnd w="med" len="med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1243848" y="4464728"/>
            <a:ext cx="335540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b="1" i="1" dirty="0">
                <a:solidFill>
                  <a:prstClr val="black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trategic thinking</a:t>
            </a:r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3275527" y="1192075"/>
            <a:ext cx="3443928" cy="307083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ln>
            <a:headEnd/>
            <a:tailEnd type="stealth" w="lg" len="lg"/>
          </a:ln>
          <a:ex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/>
          <a:lstStyle/>
          <a:p>
            <a:endParaRPr lang="th-TH">
              <a:solidFill>
                <a:prstClr val="black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Rectangle 11"/>
          <p:cNvSpPr/>
          <p:nvPr/>
        </p:nvSpPr>
        <p:spPr>
          <a:xfrm rot="18570901">
            <a:off x="2790518" y="2685271"/>
            <a:ext cx="1971606" cy="1070327"/>
          </a:xfrm>
          <a:prstGeom prst="rect">
            <a:avLst/>
          </a:prstGeom>
        </p:spPr>
        <p:txBody>
          <a:bodyPr wrap="none">
            <a:prstTxWarp prst="textArchDown">
              <a:avLst>
                <a:gd name="adj" fmla="val 810346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prstClr val="black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Paradigm Shift</a:t>
            </a:r>
            <a:endParaRPr lang="th-TH" sz="3600" i="1" dirty="0">
              <a:solidFill>
                <a:prstClr val="black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3" name="Rectangle 12"/>
          <p:cNvSpPr/>
          <p:nvPr/>
        </p:nvSpPr>
        <p:spPr>
          <a:xfrm rot="20435832">
            <a:off x="4503484" y="1437076"/>
            <a:ext cx="2004454" cy="725981"/>
          </a:xfrm>
          <a:prstGeom prst="rect">
            <a:avLst/>
          </a:prstGeom>
        </p:spPr>
        <p:txBody>
          <a:bodyPr wrap="none">
            <a:prstTxWarp prst="textArchUp">
              <a:avLst>
                <a:gd name="adj" fmla="val 11578136"/>
              </a:avLst>
            </a:prstTxWarp>
            <a:spAutoFit/>
          </a:bodyPr>
          <a:lstStyle/>
          <a:p>
            <a:r>
              <a:rPr lang="th-TH" sz="3600" b="1" i="1" dirty="0">
                <a:solidFill>
                  <a:prstClr val="black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New mindset</a:t>
            </a:r>
          </a:p>
        </p:txBody>
      </p:sp>
      <p:sp>
        <p:nvSpPr>
          <p:cNvPr id="14" name="Rectangle 13"/>
          <p:cNvSpPr/>
          <p:nvPr/>
        </p:nvSpPr>
        <p:spPr>
          <a:xfrm rot="19136800">
            <a:off x="4704628" y="2952079"/>
            <a:ext cx="2010096" cy="462617"/>
          </a:xfrm>
          <a:prstGeom prst="rect">
            <a:avLst/>
          </a:prstGeom>
        </p:spPr>
        <p:txBody>
          <a:bodyPr wrap="none">
            <a:prstTxWarp prst="textCurveUp">
              <a:avLst>
                <a:gd name="adj" fmla="val 42231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srgbClr val="99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novation</a:t>
            </a:r>
            <a:endParaRPr lang="th-TH" sz="3600" b="1" i="1" dirty="0">
              <a:solidFill>
                <a:srgbClr val="99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15680" y="6237313"/>
            <a:ext cx="604867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th-TH" sz="24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ร้างองค์ความรู้ใหม่/บริหารองค์ความรู้/</a:t>
            </a:r>
            <a:r>
              <a:rPr lang="th-TH" sz="2400" dirty="0" smtClean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ถ่ายทอดองค์</a:t>
            </a:r>
            <a:r>
              <a:rPr lang="th-TH" sz="24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วามรู้</a:t>
            </a:r>
            <a:endParaRPr lang="en-US" sz="2400" dirty="0">
              <a:solidFill>
                <a:schemeClr val="bg1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7" name="Freeform 7"/>
          <p:cNvSpPr>
            <a:spLocks/>
          </p:cNvSpPr>
          <p:nvPr/>
        </p:nvSpPr>
        <p:spPr bwMode="auto">
          <a:xfrm>
            <a:off x="5807967" y="1424354"/>
            <a:ext cx="2509555" cy="2004646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noFill/>
          <a:ln w="88900">
            <a:solidFill>
              <a:srgbClr val="9900CC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8" name="Rectangle 17"/>
          <p:cNvSpPr/>
          <p:nvPr/>
        </p:nvSpPr>
        <p:spPr>
          <a:xfrm rot="17415634">
            <a:off x="4014189" y="5070356"/>
            <a:ext cx="1512627" cy="453666"/>
          </a:xfrm>
          <a:prstGeom prst="rect">
            <a:avLst/>
          </a:prstGeom>
        </p:spPr>
        <p:txBody>
          <a:bodyPr wrap="none">
            <a:prstTxWarp prst="textCurveUp">
              <a:avLst>
                <a:gd name="adj" fmla="val 56338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vention</a:t>
            </a:r>
            <a:endParaRPr lang="th-TH" sz="3600" b="1" i="1" dirty="0">
              <a:solidFill>
                <a:srgbClr val="FF0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9" name="TextBox 18"/>
          <p:cNvSpPr txBox="1"/>
          <p:nvPr/>
        </p:nvSpPr>
        <p:spPr>
          <a:xfrm rot="16200000">
            <a:off x="595374" y="1296778"/>
            <a:ext cx="24195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>
                <a:solidFill>
                  <a:srgbClr val="99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6404460" y="3130066"/>
            <a:ext cx="663916" cy="2954212"/>
            <a:chOff x="6351712" y="2971913"/>
            <a:chExt cx="734888" cy="304486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2000"/>
                      </a14:imgEffect>
                      <a14:imgEffect>
                        <a14:brightnessContrast bright="18000"/>
                      </a14:imgEffect>
                    </a14:imgLayer>
                  </a14:imgProps>
                </a:ext>
              </a:extLst>
            </a:blip>
            <a:srcRect t="18657" b="28731"/>
            <a:stretch/>
          </p:blipFill>
          <p:spPr>
            <a:xfrm>
              <a:off x="6351712" y="5598960"/>
              <a:ext cx="734888" cy="417820"/>
            </a:xfrm>
            <a:prstGeom prst="rect">
              <a:avLst/>
            </a:prstGeom>
            <a:ln w="41275">
              <a:noFill/>
              <a:prstDash val="sysDash"/>
            </a:ln>
            <a:effectLst>
              <a:glow rad="127000">
                <a:schemeClr val="bg2"/>
              </a:glow>
              <a:outerShdw blurRad="50800" dist="50800" dir="5400000" algn="ctr" rotWithShape="0">
                <a:schemeClr val="bg1">
                  <a:lumMod val="95000"/>
                </a:schemeClr>
              </a:outerShdw>
              <a:reflection stA="0" endPos="0" dist="50800" dir="5400000" sy="-100000" algn="bl" rotWithShape="0"/>
            </a:effectLst>
          </p:spPr>
        </p:pic>
        <p:cxnSp>
          <p:nvCxnSpPr>
            <p:cNvPr id="20" name="Curved Connector 19"/>
            <p:cNvCxnSpPr/>
            <p:nvPr/>
          </p:nvCxnSpPr>
          <p:spPr>
            <a:xfrm rot="5400000">
              <a:off x="5462018" y="4129392"/>
              <a:ext cx="2627054" cy="312095"/>
            </a:xfrm>
            <a:prstGeom prst="curvedConnector3">
              <a:avLst>
                <a:gd name="adj1" fmla="val 50000"/>
              </a:avLst>
            </a:prstGeom>
            <a:ln w="41275">
              <a:solidFill>
                <a:srgbClr val="666699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6953168" y="1786165"/>
            <a:ext cx="2184239" cy="4069297"/>
            <a:chOff x="6992357" y="1812291"/>
            <a:chExt cx="2184239" cy="4069297"/>
          </a:xfrm>
        </p:grpSpPr>
        <p:sp>
          <p:nvSpPr>
            <p:cNvPr id="16" name="Rectangle 15"/>
            <p:cNvSpPr/>
            <p:nvPr/>
          </p:nvSpPr>
          <p:spPr>
            <a:xfrm rot="20354644">
              <a:off x="7103375" y="1812291"/>
              <a:ext cx="2073221" cy="583417"/>
            </a:xfrm>
            <a:prstGeom prst="rect">
              <a:avLst/>
            </a:prstGeom>
          </p:spPr>
          <p:txBody>
            <a:bodyPr wrap="none">
              <a:prstTxWarp prst="textArchUp">
                <a:avLst>
                  <a:gd name="adj" fmla="val 11416301"/>
                </a:avLst>
              </a:prstTxWarp>
              <a:spAutoFit/>
            </a:bodyPr>
            <a:lstStyle/>
            <a:p>
              <a:pPr algn="ctr"/>
              <a:r>
                <a:rPr lang="en-US" sz="3600" dirty="0">
                  <a:solidFill>
                    <a:srgbClr val="0000FF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Sustainability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6992357" y="3671642"/>
              <a:ext cx="2104533" cy="2209946"/>
              <a:chOff x="6992357" y="3671642"/>
              <a:chExt cx="2104533" cy="2209946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7804871" y="4509120"/>
                <a:ext cx="1292019" cy="1372468"/>
                <a:chOff x="7804871" y="4509120"/>
                <a:chExt cx="1292019" cy="1372468"/>
              </a:xfrm>
            </p:grpSpPr>
            <p:pic>
              <p:nvPicPr>
                <p:cNvPr id="2051" name="Picture 3" descr="C:\Users\iMat-Sci\Desktop\goldy304.gif"/>
                <p:cNvPicPr>
                  <a:picLocks noChangeAspect="1" noChangeArrowheads="1" noCrop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04871" y="5129113"/>
                  <a:ext cx="790575" cy="75247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052" name="Picture 4" descr="C:\Users\iMat-Sci\Desktop\goldyz04.gif"/>
                <p:cNvPicPr>
                  <a:picLocks noChangeAspect="1" noChangeArrowheads="1" noCrop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06315" y="4509120"/>
                  <a:ext cx="790575" cy="75247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2053" name="Picture 5" descr="C:\Users\iMat-Sci\Desktop\goldycircle04.gif"/>
              <p:cNvPicPr>
                <a:picLocks noChangeAspect="1" noChangeArrowheads="1" noCrop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357" y="3671642"/>
                <a:ext cx="2045898" cy="9284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6" name="Freeform 7"/>
          <p:cNvSpPr>
            <a:spLocks/>
          </p:cNvSpPr>
          <p:nvPr/>
        </p:nvSpPr>
        <p:spPr bwMode="auto">
          <a:xfrm rot="5048769">
            <a:off x="8005028" y="1844653"/>
            <a:ext cx="1076036" cy="272383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noFill/>
          <a:ln w="50800">
            <a:solidFill>
              <a:srgbClr val="6600CC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97024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/>
      <p:bldP spid="11" grpId="0" animBg="1"/>
      <p:bldP spid="12" grpId="0"/>
      <p:bldP spid="13" grpId="0"/>
      <p:bldP spid="14" grpId="0"/>
      <p:bldP spid="17" grpId="0" animBg="1"/>
      <p:bldP spid="18" grpId="0"/>
      <p:bldP spid="2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14544" y="2101999"/>
            <a:ext cx="9050876" cy="21236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เริ่มต้นพัฒนา  </a:t>
            </a:r>
            <a:r>
              <a:rPr lang="th-TH" sz="6600" b="1" dirty="0" err="1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</a:t>
            </a:r>
            <a:r>
              <a:rPr lang="th-TH" sz="6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คร</a:t>
            </a:r>
          </a:p>
          <a:p>
            <a:r>
              <a:rPr lang="th-TH" sz="6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ู่อนาคตที่ยั่งยืนของประเทศ</a:t>
            </a:r>
            <a:r>
              <a:rPr lang="th-TH" sz="6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ไทย</a:t>
            </a:r>
            <a:endParaRPr lang="th-TH" sz="66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23294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02962" y="157838"/>
            <a:ext cx="952857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44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จุดเริ่มต้น</a:t>
            </a:r>
            <a:r>
              <a:rPr lang="th-TH" sz="44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ของ </a:t>
            </a:r>
            <a:r>
              <a:rPr lang="th-TH" sz="4400" b="1" dirty="0" err="1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44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 </a:t>
            </a:r>
            <a:r>
              <a:rPr lang="th-TH" sz="44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ู่อนาคตของประเทศไทย</a:t>
            </a:r>
            <a:endParaRPr lang="en-US" sz="44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720" y="927279"/>
            <a:ext cx="7019091" cy="4866467"/>
          </a:xfrm>
          <a:prstGeom prst="rect">
            <a:avLst/>
          </a:prstGeom>
        </p:spPr>
      </p:pic>
      <p:sp>
        <p:nvSpPr>
          <p:cNvPr id="5" name="Curved Up Arrow 4"/>
          <p:cNvSpPr/>
          <p:nvPr/>
        </p:nvSpPr>
        <p:spPr>
          <a:xfrm rot="20052520">
            <a:off x="4608347" y="4252879"/>
            <a:ext cx="4740057" cy="119777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02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516575"/>
            <a:ext cx="1219200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8000" dirty="0" smtClean="0">
                <a:solidFill>
                  <a:srgbClr val="0000FF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วิสัยทัศน์ (</a:t>
            </a:r>
            <a:r>
              <a:rPr lang="en-US" sz="8000" dirty="0" smtClean="0">
                <a:solidFill>
                  <a:srgbClr val="0000FF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Vision)</a:t>
            </a:r>
          </a:p>
          <a:p>
            <a:pPr algn="ctr"/>
            <a:r>
              <a:rPr lang="th-TH" sz="3600" dirty="0" smtClean="0"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มหาวิทยาลัยเทคโนโลยีชั้นนำด้านการผลิตบัณฑิตมืออาชีพ</a:t>
            </a:r>
          </a:p>
          <a:p>
            <a:pPr algn="ctr"/>
            <a:r>
              <a:rPr lang="th-TH" sz="3600" dirty="0" smtClean="0"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</a:t>
            </a:r>
            <a:r>
              <a:rPr lang="en-US" sz="3600" dirty="0" smtClean="0"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A Leading Technology University in Producing Professional Graduates)</a:t>
            </a:r>
            <a:endParaRPr lang="en-US" sz="3600" dirty="0">
              <a:solidFill>
                <a:srgbClr val="7030A0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606084" y="218359"/>
            <a:ext cx="4610637" cy="1996455"/>
            <a:chOff x="3606084" y="218359"/>
            <a:chExt cx="4610637" cy="1996455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6084" y="218359"/>
              <a:ext cx="1107582" cy="1996455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4146997" y="515155"/>
              <a:ext cx="406972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600" dirty="0" smtClean="0">
                  <a:solidFill>
                    <a:srgbClr val="7030A0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RMUTP</a:t>
              </a:r>
              <a:endPara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582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5606074" y="4168237"/>
            <a:ext cx="6460901" cy="196977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th-TH" sz="24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เอกลักษณ์มหาวิทยาลัยเทคโนโลยีราชมงคลพระนคร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RMUTP Uniqueness)</a:t>
            </a:r>
            <a:endParaRPr lang="th-TH" sz="2400" dirty="0" smtClean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4000" b="0" i="0" u="none" strike="noStrike" cap="none" normalizeH="0" baseline="0" dirty="0" smtClean="0">
                <a:ln>
                  <a:noFill/>
                </a:ln>
                <a:solidFill>
                  <a:srgbClr val="7850B2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มหาวิทยาลัยแห่งโลกอาชีพ</a:t>
            </a:r>
            <a:endParaRPr kumimoji="0" lang="en-US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normalizeH="0" baseline="0" dirty="0" smtClean="0">
                <a:ln>
                  <a:noFill/>
                </a:ln>
                <a:solidFill>
                  <a:srgbClr val="7850B2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University for Diverse Careers)</a:t>
            </a:r>
            <a:endParaRPr kumimoji="0" lang="en-US" sz="4000" b="0" i="0" u="none" strike="noStrike" cap="none" normalizeH="0" baseline="0" dirty="0" smtClean="0">
              <a:ln>
                <a:noFill/>
              </a:ln>
              <a:solidFill>
                <a:srgbClr val="AA0000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1026" name="Picture 2" descr="RMUTP Identit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" y="986484"/>
            <a:ext cx="5741037" cy="4927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914399" y="51442"/>
            <a:ext cx="736671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th-TH" sz="3200" b="0" i="0" u="none" strike="noStrike" cap="none" normalizeH="0" baseline="0" dirty="0" err="1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อัต</a:t>
            </a:r>
            <a:r>
              <a:rPr kumimoji="0" lang="th-TH" sz="32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ลักษณ์มหาวิทยาลัยเทคโนโลยีราชมงคลพระนคร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sz="32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RMUTP Identity)</a:t>
            </a: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  </a:t>
            </a:r>
            <a:endParaRPr kumimoji="0" lang="en-US" b="0" i="0" u="none" strike="noStrike" cap="none" normalizeH="0" baseline="0" dirty="0" smtClean="0">
              <a:ln>
                <a:noFill/>
              </a:ln>
              <a:solidFill>
                <a:srgbClr val="7030A0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126569" y="527452"/>
            <a:ext cx="4610637" cy="1996455"/>
            <a:chOff x="3606084" y="218359"/>
            <a:chExt cx="4610637" cy="199645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6084" y="218359"/>
              <a:ext cx="1107582" cy="1996455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4146997" y="515155"/>
              <a:ext cx="406972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600" dirty="0" smtClean="0">
                  <a:solidFill>
                    <a:srgbClr val="7030A0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RMUTP</a:t>
              </a:r>
              <a:endPara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04800" y="5568027"/>
            <a:ext cx="4895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</a:t>
            </a:r>
            <a:r>
              <a:rPr lang="th-TH" sz="4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ัณฑิตย่อมฝึกตนเพื่อผู้อื่น</a:t>
            </a:r>
            <a:r>
              <a:rPr lang="en-US" sz="4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  <a:endParaRPr lang="en-US" sz="4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88524" y="2798058"/>
            <a:ext cx="6096000" cy="126188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th-TH" sz="4000" dirty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่านิยมหลัก (</a:t>
            </a:r>
            <a:r>
              <a:rPr lang="en-US" sz="4000" dirty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Core Value)</a:t>
            </a:r>
          </a:p>
          <a:p>
            <a:pPr algn="ctr"/>
            <a:r>
              <a:rPr lang="th-TH" dirty="0">
                <a:solidFill>
                  <a:srgbClr val="7850B2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</a:p>
          <a:p>
            <a:pPr algn="ctr"/>
            <a:r>
              <a:rPr lang="th-TH" dirty="0">
                <a:solidFill>
                  <a:srgbClr val="7850B2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(</a:t>
            </a:r>
            <a:r>
              <a:rPr lang="en-US" dirty="0">
                <a:solidFill>
                  <a:srgbClr val="7850B2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Think Creatively Do Professionally)</a:t>
            </a:r>
          </a:p>
        </p:txBody>
      </p:sp>
    </p:spTree>
    <p:extLst>
      <p:ext uri="{BB962C8B-B14F-4D97-AF65-F5344CB8AC3E}">
        <p14:creationId xmlns:p14="http://schemas.microsoft.com/office/powerpoint/2010/main" val="327978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5" y="1196752"/>
            <a:ext cx="2953665" cy="5011384"/>
          </a:xfrm>
          <a:prstGeom prst="rect">
            <a:avLst/>
          </a:prstGeom>
        </p:spPr>
      </p:pic>
      <p:grpSp>
        <p:nvGrpSpPr>
          <p:cNvPr id="34" name="Group 33"/>
          <p:cNvGrpSpPr/>
          <p:nvPr/>
        </p:nvGrpSpPr>
        <p:grpSpPr>
          <a:xfrm>
            <a:off x="2415417" y="1196752"/>
            <a:ext cx="2642070" cy="1609774"/>
            <a:chOff x="240593" y="964586"/>
            <a:chExt cx="3580914" cy="2371918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6864" y="964586"/>
              <a:ext cx="3333047" cy="2371918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240593" y="1058714"/>
              <a:ext cx="3580914" cy="9523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6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Digital University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7860135" y="3424130"/>
            <a:ext cx="2373694" cy="779894"/>
            <a:chOff x="5717365" y="4799838"/>
            <a:chExt cx="2373694" cy="779894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5"/>
            <a:srcRect l="5317" t="6525" r="5317"/>
            <a:stretch/>
          </p:blipFill>
          <p:spPr>
            <a:xfrm>
              <a:off x="5717365" y="4799838"/>
              <a:ext cx="664505" cy="695061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6192004" y="4871846"/>
              <a:ext cx="189905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400"/>
                </a:lnSpc>
              </a:pP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Sustainable </a:t>
              </a:r>
            </a:p>
            <a:p>
              <a:pPr algn="ctr">
                <a:lnSpc>
                  <a:spcPts val="2400"/>
                </a:lnSpc>
              </a:pP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University</a:t>
              </a:r>
            </a:p>
          </p:txBody>
        </p:sp>
      </p:grp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496538" y="20078"/>
            <a:ext cx="5751591" cy="7920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8800" u="sng" dirty="0">
                <a:solidFill>
                  <a:srgbClr val="9900CC"/>
                </a:solidFill>
              </a:rPr>
              <a:t>RMUTP</a:t>
            </a:r>
            <a:r>
              <a:rPr lang="en-US" dirty="0" smtClean="0"/>
              <a:t> </a:t>
            </a:r>
            <a:r>
              <a:rPr lang="th-TH" dirty="0" smtClean="0"/>
              <a:t>ใน</a:t>
            </a:r>
            <a:r>
              <a:rPr lang="th-TH" dirty="0"/>
              <a:t>ศตวรรษที่ </a:t>
            </a:r>
            <a:r>
              <a:rPr lang="en-US" dirty="0"/>
              <a:t>21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3" y="2204865"/>
            <a:ext cx="835099" cy="1505295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2242796" y="2780929"/>
            <a:ext cx="2773085" cy="1261571"/>
            <a:chOff x="5874524" y="1112908"/>
            <a:chExt cx="2773085" cy="1261571"/>
          </a:xfrm>
        </p:grpSpPr>
        <p:pic>
          <p:nvPicPr>
            <p:cNvPr id="3074" name="Picture 2" descr="STEM_logo-236x300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27240"/>
            <a:stretch/>
          </p:blipFill>
          <p:spPr bwMode="auto">
            <a:xfrm>
              <a:off x="5874524" y="1112908"/>
              <a:ext cx="1359679" cy="1261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7026652" y="1472948"/>
              <a:ext cx="1620957" cy="742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2400"/>
                </a:lnSpc>
              </a:pPr>
              <a:r>
                <a:rPr lang="en-US" sz="3200" b="1" dirty="0" err="1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WiL+STEM</a:t>
              </a: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 </a:t>
              </a:r>
            </a:p>
            <a:p>
              <a:pPr algn="ctr">
                <a:lnSpc>
                  <a:spcPts val="2400"/>
                </a:lnSpc>
              </a:pP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University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063553" y="4869161"/>
            <a:ext cx="3138887" cy="707886"/>
            <a:chOff x="751943" y="3188417"/>
            <a:chExt cx="3229708" cy="1102793"/>
          </a:xfrm>
        </p:grpSpPr>
        <p:sp>
          <p:nvSpPr>
            <p:cNvPr id="8" name="TextBox 7"/>
            <p:cNvSpPr txBox="1"/>
            <p:nvPr/>
          </p:nvSpPr>
          <p:spPr>
            <a:xfrm>
              <a:off x="751943" y="3188417"/>
              <a:ext cx="2797209" cy="110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400"/>
                </a:lnSpc>
              </a:pPr>
              <a:r>
                <a:rPr lang="en-US" sz="40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Innovative </a:t>
              </a:r>
            </a:p>
            <a:p>
              <a:pPr algn="ctr">
                <a:lnSpc>
                  <a:spcPts val="2400"/>
                </a:lnSpc>
              </a:pPr>
              <a:r>
                <a:rPr lang="en-US" sz="40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University</a:t>
              </a: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8"/>
            <a:srcRect l="7732" t="4109" r="7732" b="16186"/>
            <a:stretch/>
          </p:blipFill>
          <p:spPr>
            <a:xfrm>
              <a:off x="3048780" y="3188419"/>
              <a:ext cx="932871" cy="1044458"/>
            </a:xfrm>
            <a:prstGeom prst="rect">
              <a:avLst/>
            </a:prstGeom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</p:pic>
      </p:grp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9"/>
          <a:srcRect l="40338" t="53623" r="37924" b="7732"/>
          <a:stretch/>
        </p:blipFill>
        <p:spPr>
          <a:xfrm>
            <a:off x="5807968" y="4077073"/>
            <a:ext cx="549130" cy="97623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168009" y="4509121"/>
            <a:ext cx="2115293" cy="106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sz="3600" b="1" dirty="0">
                <a:ln w="1905"/>
                <a:solidFill>
                  <a:srgbClr val="99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Professional </a:t>
            </a:r>
            <a:r>
              <a:rPr lang="en-US" sz="3600" b="1" dirty="0">
                <a:solidFill>
                  <a:srgbClr val="99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Graduates</a:t>
            </a:r>
            <a:r>
              <a:rPr lang="en-US" sz="3600" b="1" dirty="0">
                <a:ln w="1905"/>
                <a:solidFill>
                  <a:srgbClr val="99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 University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46585" y="800769"/>
            <a:ext cx="2395548" cy="2314334"/>
            <a:chOff x="6012160" y="3429000"/>
            <a:chExt cx="2395548" cy="2314334"/>
          </a:xfrm>
        </p:grpSpPr>
        <p:grpSp>
          <p:nvGrpSpPr>
            <p:cNvPr id="16" name="Group 15"/>
            <p:cNvGrpSpPr/>
            <p:nvPr/>
          </p:nvGrpSpPr>
          <p:grpSpPr>
            <a:xfrm>
              <a:off x="6516216" y="3429000"/>
              <a:ext cx="1584176" cy="1368151"/>
              <a:chOff x="1656596" y="3481315"/>
              <a:chExt cx="2335311" cy="2190982"/>
            </a:xfrm>
          </p:grpSpPr>
          <p:pic>
            <p:nvPicPr>
              <p:cNvPr id="14" name="Picture 13"/>
              <p:cNvPicPr>
                <a:picLocks noChangeAspect="1"/>
              </p:cNvPicPr>
              <p:nvPr/>
            </p:nvPicPr>
            <p:blipFill rotWithShape="1">
              <a:blip r:embed="rId10"/>
              <a:srcRect l="4167" t="4947" r="4471" b="22224"/>
              <a:stretch/>
            </p:blipFill>
            <p:spPr>
              <a:xfrm>
                <a:off x="1656596" y="3481315"/>
                <a:ext cx="1800201" cy="1844632"/>
              </a:xfrm>
              <a:prstGeom prst="rect">
                <a:avLst/>
              </a:prstGeom>
            </p:spPr>
          </p:pic>
          <p:sp>
            <p:nvSpPr>
              <p:cNvPr id="15" name="Rectangle 14"/>
              <p:cNvSpPr/>
              <p:nvPr/>
            </p:nvSpPr>
            <p:spPr>
              <a:xfrm>
                <a:off x="2591852" y="4639184"/>
                <a:ext cx="1400055" cy="103311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2000"/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6012160" y="4005064"/>
              <a:ext cx="2395548" cy="1738270"/>
              <a:chOff x="3302481" y="4600513"/>
              <a:chExt cx="2395548" cy="1738270"/>
            </a:xfrm>
          </p:grpSpPr>
          <p:pic>
            <p:nvPicPr>
              <p:cNvPr id="26" name="Picture 2" descr="http://www.happy8workplace.com/wp-content/uploads/2013/07/How-to-Boost-Company-Morale-and-Achieve-a-Happy-Workplace.jp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2481" y="4600513"/>
                <a:ext cx="2395548" cy="1738270"/>
              </a:xfrm>
              <a:prstGeom prst="rect">
                <a:avLst/>
              </a:prstGeom>
              <a:noFill/>
              <a:effectLst>
                <a:softEdge rad="2921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Rectangle 30"/>
              <p:cNvSpPr/>
              <p:nvPr/>
            </p:nvSpPr>
            <p:spPr>
              <a:xfrm>
                <a:off x="3493970" y="4949416"/>
                <a:ext cx="2012571" cy="828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2800"/>
                  </a:lnSpc>
                </a:pPr>
                <a:r>
                  <a:rPr lang="en-US" b="1" dirty="0">
                    <a:ln w="1905"/>
                    <a:solidFill>
                      <a:srgbClr val="9900CC"/>
                    </a:solidFill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  <a:latin typeface="AngsanaUPC" pitchFamily="18" charset="-34"/>
                    <a:cs typeface="AngsanaUPC" pitchFamily="18" charset="-34"/>
                  </a:rPr>
                  <a:t>Know-How</a:t>
                </a:r>
              </a:p>
              <a:p>
                <a:pPr algn="ctr">
                  <a:lnSpc>
                    <a:spcPts val="2800"/>
                  </a:lnSpc>
                </a:pPr>
                <a:r>
                  <a:rPr lang="en-US" b="1" dirty="0">
                    <a:ln w="1905"/>
                    <a:solidFill>
                      <a:srgbClr val="9900CC"/>
                    </a:solidFill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  <a:latin typeface="AngsanaUPC" pitchFamily="18" charset="-34"/>
                    <a:cs typeface="AngsanaUPC" pitchFamily="18" charset="-34"/>
                  </a:rPr>
                  <a:t> of the La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8083568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254" y="1171398"/>
            <a:ext cx="4916297" cy="491629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5132" y="118413"/>
            <a:ext cx="94572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พระบาทสมเด็จพระเจ้าอยู่หัวภูมิพลอดุลยเดชฯ โปรดเกล้าฯ พระราชทานชื่อให้วิทยาลัยเทคโนโลยีและอาชีวศึกษาใหม่ว่า </a:t>
            </a:r>
            <a:r>
              <a:rPr lang="th-TH" sz="28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ถาบันเทคโนโลยีราชมงคล </a:t>
            </a:r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ีหมายความว่า </a:t>
            </a:r>
            <a:r>
              <a:rPr lang="th-TH" sz="28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ถาบันเทคโนโลยีอันเป็นมิ่งมงคลแห่งพระราชา</a:t>
            </a:r>
            <a:endParaRPr lang="en-US" sz="28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11" y="3111649"/>
            <a:ext cx="2172611" cy="185074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93" y="1483231"/>
            <a:ext cx="2170461" cy="15561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393" y="1466146"/>
            <a:ext cx="2401215" cy="349854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31820" y="5022758"/>
            <a:ext cx="5821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now-how </a:t>
            </a:r>
            <a:r>
              <a:rPr lang="en-US" sz="4000" b="1" dirty="0" smtClean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 </a:t>
            </a:r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ilan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64329" y="5563865"/>
            <a:ext cx="49072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4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ชี่ยวชาญแห่งแผ่นดิน</a:t>
            </a:r>
            <a:endParaRPr lang="en-US" sz="44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22973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24000" y="-99392"/>
            <a:ext cx="802838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0" u="sng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4800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 : </a:t>
            </a:r>
            <a:r>
              <a:rPr lang="th-TH" sz="4800" dirty="0">
                <a:solidFill>
                  <a:srgbClr val="00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ิตบัณฑิตมืออาชีพ</a:t>
            </a:r>
            <a:endParaRPr lang="en-US" sz="4800" dirty="0">
              <a:solidFill>
                <a:srgbClr val="00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3863752" y="2514600"/>
            <a:ext cx="3991198" cy="167640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ight Arrow 5"/>
          <p:cNvSpPr/>
          <p:nvPr/>
        </p:nvSpPr>
        <p:spPr>
          <a:xfrm>
            <a:off x="7839076" y="2438400"/>
            <a:ext cx="893763" cy="1828800"/>
          </a:xfrm>
          <a:prstGeom prst="rightArrow">
            <a:avLst>
              <a:gd name="adj1" fmla="val 50000"/>
              <a:gd name="adj2" fmla="val 56513"/>
            </a:avLst>
          </a:prstGeom>
          <a:solidFill>
            <a:srgbClr val="0033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ight Arrow 6"/>
          <p:cNvSpPr/>
          <p:nvPr/>
        </p:nvSpPr>
        <p:spPr>
          <a:xfrm>
            <a:off x="8732837" y="2430463"/>
            <a:ext cx="2310301" cy="1865312"/>
          </a:xfrm>
          <a:prstGeom prst="rightArrow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900333" y="3068961"/>
            <a:ext cx="1811292" cy="603821"/>
          </a:xfrm>
          <a:prstGeom prst="rightArrow">
            <a:avLst/>
          </a:prstGeom>
          <a:solidFill>
            <a:srgbClr val="3333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3860578" y="2430464"/>
            <a:ext cx="3175" cy="2827337"/>
          </a:xfrm>
          <a:prstGeom prst="line">
            <a:avLst/>
          </a:prstGeom>
          <a:ln w="3810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7827963" y="2430464"/>
            <a:ext cx="0" cy="2936875"/>
          </a:xfrm>
          <a:prstGeom prst="line">
            <a:avLst/>
          </a:prstGeom>
          <a:ln w="4445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721725" y="2430464"/>
            <a:ext cx="0" cy="2936875"/>
          </a:xfrm>
          <a:prstGeom prst="line">
            <a:avLst/>
          </a:prstGeom>
          <a:ln w="4445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631504" y="2060848"/>
            <a:ext cx="11574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b="1" dirty="0">
                <a:latin typeface="DB Chidlom X Bold" panose="02000806000000020004" pitchFamily="2" charset="-34"/>
                <a:cs typeface="DB Chidlom X Bold" panose="02000806000000020004" pitchFamily="2" charset="-34"/>
              </a:rPr>
              <a:t>1-18</a:t>
            </a:r>
            <a:endParaRPr lang="en-US" sz="2400" b="1" dirty="0"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44062" y="3671490"/>
            <a:ext cx="190976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วัยที่ต้องมีระเบียบ</a:t>
            </a:r>
            <a:r>
              <a:rPr lang="en-US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endParaRPr lang="th-TH" sz="2400" b="1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algn="ctr">
              <a:defRPr/>
            </a:pPr>
            <a:r>
              <a:rPr lang="th-TH" sz="2400" b="1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มี</a:t>
            </a:r>
            <a:r>
              <a:rPr lang="th-TH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วินัยสูง </a:t>
            </a:r>
            <a:endParaRPr lang="th-TH" sz="2400" b="1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algn="ctr">
              <a:defRPr/>
            </a:pPr>
            <a:r>
              <a:rPr lang="th-TH" sz="2400" b="1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ใฝ่</a:t>
            </a:r>
            <a:r>
              <a:rPr lang="th-TH" sz="2400" b="1" dirty="0" smtClean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เรียนรู้           คู่คุณธรรม</a:t>
            </a:r>
            <a:endParaRPr lang="en-US" sz="2400" b="1" dirty="0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35761" y="4293097"/>
            <a:ext cx="385886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800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ความรู้/</a:t>
            </a:r>
            <a:r>
              <a:rPr lang="th-TH" sz="2800" b="1" dirty="0">
                <a:solidFill>
                  <a:srgbClr val="000066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ุณภาพชีวิต/ผลิต</a:t>
            </a:r>
            <a:r>
              <a:rPr lang="th-TH" sz="2800" b="1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งาน/</a:t>
            </a:r>
            <a:r>
              <a:rPr lang="th-TH" sz="2800" b="1" dirty="0">
                <a:solidFill>
                  <a:srgbClr val="66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ทรัพย์สิน/</a:t>
            </a:r>
            <a:r>
              <a:rPr lang="th-TH" sz="2800" b="1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เกียรติยศ/</a:t>
            </a:r>
            <a:r>
              <a:rPr lang="th-TH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ชื่อเสียง </a:t>
            </a:r>
            <a:endParaRPr lang="en-US"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7902" name="TextBox 26"/>
          <p:cNvSpPr txBox="1">
            <a:spLocks noChangeArrowheads="1"/>
          </p:cNvSpPr>
          <p:nvPr/>
        </p:nvSpPr>
        <p:spPr bwMode="auto">
          <a:xfrm>
            <a:off x="7752184" y="2924944"/>
            <a:ext cx="95408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th-TH" sz="1800" b="1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จิตวิญญาณ   ความสงบ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656810" y="2951413"/>
            <a:ext cx="19192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ให้</a:t>
            </a:r>
            <a:r>
              <a:rPr lang="th-TH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แสงสว่าง</a:t>
            </a:r>
          </a:p>
          <a:p>
            <a:pPr algn="ctr">
              <a:defRPr/>
            </a:pPr>
            <a:r>
              <a:rPr lang="th-TH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แก่คนรุ่นหลัง</a:t>
            </a:r>
            <a:endParaRPr lang="en-U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39817" y="2060848"/>
            <a:ext cx="10873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th-TH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4-</a:t>
            </a:r>
            <a:r>
              <a:rPr lang="en-US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39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896200" y="2060848"/>
            <a:ext cx="10081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th-TH" sz="2400" b="1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66-75</a:t>
            </a:r>
            <a:endParaRPr lang="en-US" sz="2400" b="1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0499" name="TextBox 31"/>
          <p:cNvSpPr txBox="1">
            <a:spLocks noChangeArrowheads="1"/>
          </p:cNvSpPr>
          <p:nvPr/>
        </p:nvSpPr>
        <p:spPr bwMode="auto">
          <a:xfrm>
            <a:off x="8904313" y="2041030"/>
            <a:ext cx="1597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th-TH" b="1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ชีวิตนิรันดร</a:t>
            </a:r>
            <a:endParaRPr lang="en-US" b="1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2711624" y="2420888"/>
            <a:ext cx="1152128" cy="1872208"/>
          </a:xfrm>
          <a:prstGeom prst="rightArrow">
            <a:avLst/>
          </a:prstGeom>
          <a:solidFill>
            <a:srgbClr val="9900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21" name="Straight Connector 20"/>
          <p:cNvCxnSpPr/>
          <p:nvPr/>
        </p:nvCxnSpPr>
        <p:spPr>
          <a:xfrm>
            <a:off x="2711624" y="2420888"/>
            <a:ext cx="0" cy="2808312"/>
          </a:xfrm>
          <a:prstGeom prst="line">
            <a:avLst/>
          </a:prstGeom>
          <a:ln w="3810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639616" y="3050816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</a:p>
        </p:txBody>
      </p:sp>
      <p:sp>
        <p:nvSpPr>
          <p:cNvPr id="8" name="Down Arrow 7"/>
          <p:cNvSpPr/>
          <p:nvPr/>
        </p:nvSpPr>
        <p:spPr>
          <a:xfrm>
            <a:off x="2927648" y="980728"/>
            <a:ext cx="792088" cy="1080120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685866" y="4149080"/>
            <a:ext cx="12241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400" b="1" dirty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  <a:endParaRPr lang="en-US" sz="2400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873521" y="2420888"/>
            <a:ext cx="0" cy="2808312"/>
          </a:xfrm>
          <a:prstGeom prst="line">
            <a:avLst/>
          </a:prstGeom>
          <a:ln w="3810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endCxn id="26" idx="0"/>
          </p:cNvCxnSpPr>
          <p:nvPr/>
        </p:nvCxnSpPr>
        <p:spPr>
          <a:xfrm flipH="1">
            <a:off x="5865194" y="2631504"/>
            <a:ext cx="14784" cy="1661593"/>
          </a:xfrm>
          <a:prstGeom prst="line">
            <a:avLst/>
          </a:prstGeom>
          <a:ln w="34925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935760" y="2924945"/>
            <a:ext cx="1872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 err="1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WiL</a:t>
            </a:r>
            <a:r>
              <a:rPr lang="en-US" dirty="0" err="1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+</a:t>
            </a:r>
            <a:r>
              <a:rPr lang="en-US" b="1" dirty="0" err="1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TEM</a:t>
            </a:r>
            <a:endParaRPr lang="en-US" b="1" dirty="0">
              <a:solidFill>
                <a:schemeClr val="bg1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07968" y="2924945"/>
            <a:ext cx="180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TEAM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304830" y="2060848"/>
            <a:ext cx="10873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40</a:t>
            </a:r>
            <a:r>
              <a:rPr lang="th-TH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65</a:t>
            </a:r>
            <a:endParaRPr lang="en-US" sz="2400" b="1" dirty="0">
              <a:solidFill>
                <a:srgbClr val="00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524000" y="5573113"/>
            <a:ext cx="9324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800" dirty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มนูธรรมศาสตร์ระบบการพัฒนาชีวิต 5 </a:t>
            </a:r>
            <a:r>
              <a:rPr lang="th-TH" sz="4800" dirty="0" smtClean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ช่วงวัย</a:t>
            </a:r>
            <a:endParaRPr lang="en-US" sz="4800" dirty="0">
              <a:solidFill>
                <a:srgbClr val="80008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" name="Curved Right Arrow 2"/>
          <p:cNvSpPr/>
          <p:nvPr/>
        </p:nvSpPr>
        <p:spPr>
          <a:xfrm rot="6000202">
            <a:off x="4284181" y="1054708"/>
            <a:ext cx="889123" cy="2623528"/>
          </a:xfrm>
          <a:prstGeom prst="curved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Curved Right Arrow 35"/>
          <p:cNvSpPr/>
          <p:nvPr/>
        </p:nvSpPr>
        <p:spPr>
          <a:xfrm rot="6000202">
            <a:off x="5306928" y="-407095"/>
            <a:ext cx="1017804" cy="4223613"/>
          </a:xfrm>
          <a:prstGeom prst="curved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Curved Right Arrow 38"/>
          <p:cNvSpPr/>
          <p:nvPr/>
        </p:nvSpPr>
        <p:spPr>
          <a:xfrm rot="15892130">
            <a:off x="4497113" y="2645621"/>
            <a:ext cx="494757" cy="2736304"/>
          </a:xfrm>
          <a:prstGeom prst="curvedRightArrow">
            <a:avLst/>
          </a:prstGeom>
          <a:solidFill>
            <a:srgbClr val="0033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68734" y="2024365"/>
            <a:ext cx="755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800" dirty="0">
                <a:latin typeface="DB Chidlom X Bold" panose="02000806000000020004" pitchFamily="2" charset="-34"/>
                <a:cs typeface="DB Chidlom X Bold" panose="02000806000000020004" pitchFamily="2" charset="-34"/>
              </a:rPr>
              <a:t>อายุ</a:t>
            </a:r>
            <a:endParaRPr lang="en-US" sz="2800" dirty="0"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79919" y="1509580"/>
            <a:ext cx="4148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b="1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เรียนรู้และการพัฒนาที่ยั่งยืน</a:t>
            </a:r>
            <a:endParaRPr lang="en-US" sz="2400" b="1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03712" y="3717032"/>
            <a:ext cx="2520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000" dirty="0">
                <a:solidFill>
                  <a:srgbClr val="00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ริการวิชาการอย่างต่อเนื่อง</a:t>
            </a:r>
            <a:endParaRPr lang="en-US" sz="2000" dirty="0">
              <a:solidFill>
                <a:srgbClr val="000099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711625" y="2060848"/>
            <a:ext cx="114373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b="1" dirty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9-23</a:t>
            </a:r>
            <a:endParaRPr lang="en-US" sz="2400" b="1" dirty="0">
              <a:solidFill>
                <a:srgbClr val="80008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711497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6" grpId="0" animBg="1"/>
      <p:bldP spid="39" grpId="0" animBg="1"/>
      <p:bldP spid="11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9973" y="183148"/>
            <a:ext cx="8136904" cy="936104"/>
          </a:xfrm>
        </p:spPr>
        <p:txBody>
          <a:bodyPr>
            <a:noAutofit/>
          </a:bodyPr>
          <a:lstStyle/>
          <a:p>
            <a:r>
              <a:rPr lang="th-TH" sz="4800" dirty="0"/>
              <a:t>แผนปฏิบัติการ </a:t>
            </a:r>
            <a:r>
              <a:rPr lang="th-TH" sz="3000" dirty="0"/>
              <a:t>“ผลิตบัณฑิตคุณภาพ </a:t>
            </a:r>
            <a:r>
              <a:rPr lang="th-TH" sz="3000" dirty="0" err="1"/>
              <a:t>มทร</a:t>
            </a:r>
            <a:r>
              <a:rPr lang="th-TH" sz="3000" dirty="0"/>
              <a:t>.พระนคร” </a:t>
            </a:r>
            <a:endParaRPr lang="th-TH" sz="2000" dirty="0"/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39274" y="7152838"/>
            <a:ext cx="858615" cy="452626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143000" y="1753562"/>
            <a:ext cx="10163908" cy="1850304"/>
            <a:chOff x="692834" y="2276872"/>
            <a:chExt cx="7551574" cy="1850304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03648" y="2276872"/>
              <a:ext cx="6840760" cy="1850304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692834" y="2940414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srgbClr val="7030A0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59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380784" y="2909636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63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945360" y="2909635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67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502459" y="2917046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71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168759" y="2899693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75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10138575" y="1303931"/>
            <a:ext cx="144943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</a:t>
            </a:r>
            <a:r>
              <a:rPr lang="th-TH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th-TH" sz="3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847438" y="2923276"/>
            <a:ext cx="26003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Network</a:t>
            </a:r>
            <a:endParaRPr lang="th-TH" sz="3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893625" y="3367001"/>
            <a:ext cx="13789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ustainability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7524" y="5733256"/>
            <a:ext cx="1043979" cy="1124744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5566624" y="1734006"/>
            <a:ext cx="9092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MEs</a:t>
            </a:r>
            <a:endParaRPr lang="th-TH" sz="3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71194" y="1460497"/>
            <a:ext cx="28216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ร้างอาชีพด้วยศูนย์ความเป็นเลิศ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567609" y="3645025"/>
            <a:ext cx="54088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ลัพธ์</a:t>
            </a:r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ือ องค์ความรู้ และการถ่ายทอด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567608" y="4077072"/>
            <a:ext cx="57759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ประชาสัมพันธ์โดยหน่วยงานสื่อสารองค์กร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(Focus</a:t>
            </a:r>
            <a:r>
              <a:rPr lang="th-TH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: Target market)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713294" y="4437113"/>
            <a:ext cx="6696744" cy="224676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ริหารองค์ความรู้และถ่ายทอดเพื่อประชาสัมพันธ์ให้กับกลุ่มเป้าหมาย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Target Market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Social network,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ื่อสิ่งพิมพ์, ทีวี, วิทยุกระจายเสียง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้ายโฆษณา,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Brochure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Mega project,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แสดงผลงาน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Exhibition)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ดับคณะ ระดับมหาวิทยาลัย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วิชาการ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onference)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ระดับหลักสูตร ระดับคณะ ระดับมหาวิทยาลัย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ประสบผลสำเร็จในวิชาชีพ การแข่งขัน ความเชี่ยวชาญ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rofessional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ป็นผู้ประกอบการ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Entrepreneurship, SMEs)</a:t>
            </a: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Invention, Conference paper, Publication paper, Patent </a:t>
            </a: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เขียนตำราและหนังสือใหม่ </a:t>
            </a:r>
          </a:p>
          <a:p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เอกสารประกอบการสอน, สื่อการสอนออนไลน์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Project Proposal, Research methodology and results, commercialization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luster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of …….?</a:t>
            </a: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ริษัทจำลอง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โรงเรียน-โรงงาน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-ชุมชน ศิษย์เก่า สมาคมวิชาชีพ และอื่นๆ</a:t>
            </a:r>
          </a:p>
        </p:txBody>
      </p:sp>
      <p:cxnSp>
        <p:nvCxnSpPr>
          <p:cNvPr id="5" name="Elbow Connector 4"/>
          <p:cNvCxnSpPr/>
          <p:nvPr/>
        </p:nvCxnSpPr>
        <p:spPr>
          <a:xfrm rot="10800000">
            <a:off x="1824533" y="2860979"/>
            <a:ext cx="901824" cy="2777896"/>
          </a:xfrm>
          <a:prstGeom prst="bentConnector2">
            <a:avLst/>
          </a:prstGeom>
          <a:ln w="47625"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16200000">
            <a:off x="-85223" y="2362891"/>
            <a:ext cx="21291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mart</a:t>
            </a:r>
            <a:r>
              <a:rPr lang="th-TH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th-TH" sz="28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033221" y="2907359"/>
            <a:ext cx="19335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Invention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355489" y="2907361"/>
            <a:ext cx="25426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novation</a:t>
            </a:r>
            <a:endParaRPr lang="th-TH" sz="28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550980" y="1774487"/>
            <a:ext cx="277832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Entrepreneurship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07542" y="2012794"/>
            <a:ext cx="30347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b="1" dirty="0" smtClean="0">
                <a:solidFill>
                  <a:srgbClr val="99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เริ่มจัดตั้งศูนย์บริการ</a:t>
            </a:r>
            <a:r>
              <a:rPr lang="th-TH" sz="2400" b="1" dirty="0">
                <a:solidFill>
                  <a:srgbClr val="99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วิชาการ</a:t>
            </a:r>
            <a:endParaRPr lang="en-US" sz="2400" b="1" dirty="0">
              <a:solidFill>
                <a:srgbClr val="990099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4" name="Rectangle 33"/>
          <p:cNvSpPr/>
          <p:nvPr/>
        </p:nvSpPr>
        <p:spPr>
          <a:xfrm rot="16200000">
            <a:off x="906725" y="4649325"/>
            <a:ext cx="15841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vention</a:t>
            </a:r>
            <a:r>
              <a:rPr lang="th-TH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th-TH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91971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09822" y="677917"/>
            <a:ext cx="932992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-TQM</a:t>
            </a:r>
          </a:p>
          <a:p>
            <a:pPr algn="ctr"/>
            <a:r>
              <a:rPr lang="th-TH" sz="6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</a:t>
            </a:r>
            <a:r>
              <a:rPr lang="th-TH" sz="6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ริหารมุ่งเป้า</a:t>
            </a:r>
            <a:endParaRPr lang="th-TH" sz="6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algn="ctr"/>
            <a:r>
              <a: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</a:t>
            </a:r>
            <a:r>
              <a:rPr lang="th-TH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ิตบัณฑิตคุณภาพ</a:t>
            </a:r>
            <a:r>
              <a: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21145" y="5438609"/>
            <a:ext cx="10293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</a:t>
            </a:r>
            <a:r>
              <a:rPr lang="th-TH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  <a:r>
              <a:rPr lang="en-US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95750" y="4829301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3600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สายสนับสนุนเป็นมืออาชีพ</a:t>
            </a:r>
            <a:endParaRPr lang="en-US" sz="3600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95750" y="4329333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อาจารย์เป็นมืออาชีพ 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36227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33143" y="374072"/>
            <a:ext cx="19684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334" y="374072"/>
            <a:ext cx="5694218" cy="569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08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29556" y="1002894"/>
            <a:ext cx="90796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ู้ด้าน </a:t>
            </a:r>
            <a:r>
              <a:rPr lang="en-US" sz="44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44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ักปฏิบัติ</a:t>
            </a:r>
            <a:r>
              <a:rPr lang="en-US" sz="44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และ </a:t>
            </a:r>
            <a:r>
              <a:rPr lang="en-US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ูตรเฉพาะทาง</a:t>
            </a:r>
            <a:r>
              <a:rPr lang="en-US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th-TH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ให้เกิด</a:t>
            </a:r>
          </a:p>
          <a:p>
            <a:pPr algn="ctr"/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ชี่ยวชาญแห่งประเทศ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ไทย</a:t>
            </a:r>
            <a:endParaRPr lang="en-US" sz="36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818" y="2654139"/>
            <a:ext cx="2958302" cy="21431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4381" y="2667019"/>
            <a:ext cx="1428750" cy="21431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10242" y="4899091"/>
            <a:ext cx="34868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กังหันน้ำชัยพัฒนา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4014107" y="4897500"/>
            <a:ext cx="290816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เรือใบซูเปอร์มด”</a:t>
            </a:r>
            <a:endParaRPr lang="en-US" sz="40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7636" y="2603892"/>
            <a:ext cx="2963519" cy="225458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999575" y="4923536"/>
            <a:ext cx="495520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้ำมัน</a:t>
            </a:r>
            <a:r>
              <a:rPr lang="th-TH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าล์มมาใช้แทนน้ำมัน</a:t>
            </a:r>
            <a:r>
              <a:rPr lang="th-TH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ดีเซล</a:t>
            </a:r>
            <a:r>
              <a:rPr lang="en-US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endParaRPr lang="en-US" sz="36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36384" y="193181"/>
            <a:ext cx="5821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now-how </a:t>
            </a:r>
            <a:r>
              <a:rPr lang="en-US" sz="4000" b="1" dirty="0" smtClean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 </a:t>
            </a:r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iland</a:t>
            </a:r>
          </a:p>
        </p:txBody>
      </p:sp>
    </p:spTree>
    <p:extLst>
      <p:ext uri="{BB962C8B-B14F-4D97-AF65-F5344CB8AC3E}">
        <p14:creationId xmlns:p14="http://schemas.microsoft.com/office/powerpoint/2010/main" val="364923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276" y="1400662"/>
            <a:ext cx="2720678" cy="40084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2742" y="1404366"/>
            <a:ext cx="2693225" cy="402100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614102" y="5181782"/>
            <a:ext cx="2662908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ฝนหลวง </a:t>
            </a:r>
            <a:endParaRPr lang="en-US" sz="66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36384" y="128787"/>
            <a:ext cx="5821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now-how </a:t>
            </a:r>
            <a:r>
              <a:rPr lang="en-US" sz="4000" b="1" dirty="0" smtClean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 </a:t>
            </a:r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iland</a:t>
            </a:r>
          </a:p>
        </p:txBody>
      </p:sp>
      <p:sp>
        <p:nvSpPr>
          <p:cNvPr id="8" name="Rectangle 7"/>
          <p:cNvSpPr/>
          <p:nvPr/>
        </p:nvSpPr>
        <p:spPr>
          <a:xfrm>
            <a:off x="1803040" y="790062"/>
            <a:ext cx="85644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ู้ ด้าน</a:t>
            </a:r>
            <a:r>
              <a:rPr lang="en-US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“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ักปฏิบัติ</a:t>
            </a:r>
            <a:r>
              <a:rPr lang="en-US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และความเชี่ยวชาญ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ของประเทศไทย</a:t>
            </a:r>
            <a:endParaRPr lang="en-US" sz="36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74461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1399" y="3429000"/>
            <a:ext cx="1159417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จากคำกล่าวของท่าน </a:t>
            </a:r>
            <a:r>
              <a:rPr lang="th-TH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ศาสตราจารย์สวาสดิ์ ไชยคุณา </a:t>
            </a:r>
            <a:r>
              <a:rPr lang="th-TH" sz="28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อธิการบดีวิทยาลัยเทคโนโลยีและอาชีวศึกษาคนแรก</a:t>
            </a:r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 เป็นผู้บุกเบิกสถาบันฯ อย่างแท้จริง ได้กล่าวถึงการพระราชทานปริญญาบัตรครั้งแรกของสถาบันไว้</a:t>
            </a:r>
            <a:r>
              <a:rPr lang="th-TH" sz="28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ว่า</a:t>
            </a:r>
          </a:p>
          <a:p>
            <a:endParaRPr lang="th-TH" sz="28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en-US" sz="28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ล้นเกล้าฯพระปิยมหาราชปลดปล่อยทาสให้เป็นไทยฉันใด พระบาทสมเด็จพระเจ้าอยู่หัวรัชกาลปัจจุบัน</a:t>
            </a:r>
            <a:r>
              <a:rPr lang="en-US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200" b="1" dirty="0">
                <a:solidFill>
                  <a:srgbClr val="6600CC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รงปลดปล่อยนักเรียนอาชีวศึกษาจากที่ถูกสังคมมอง</a:t>
            </a:r>
            <a:r>
              <a:rPr lang="th-TH" sz="3200" b="1" dirty="0" smtClean="0">
                <a:solidFill>
                  <a:srgbClr val="6600CC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ว่าเป็น</a:t>
            </a:r>
            <a:r>
              <a:rPr lang="th-TH" sz="3200" b="1" dirty="0">
                <a:solidFill>
                  <a:srgbClr val="6600CC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ักเรียนชั้นสองให้เป็นไทฉันนั้น</a:t>
            </a:r>
            <a:r>
              <a:rPr lang="en-US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endParaRPr lang="th-TH" sz="2800" b="1" dirty="0">
              <a:solidFill>
                <a:srgbClr val="0000FF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111" y="159327"/>
            <a:ext cx="4005952" cy="320476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884830" y="1906113"/>
            <a:ext cx="549701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4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ศาสตราจารย์สวาสดิ์ ไชยคุณา</a:t>
            </a:r>
            <a:endParaRPr lang="en-US" sz="44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64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230544" y="2338047"/>
            <a:ext cx="9998250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ป็นมา ที่ภาคภูมิของ </a:t>
            </a:r>
            <a:r>
              <a:rPr lang="th-TH" sz="6000" b="1" dirty="0" err="1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6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</a:t>
            </a:r>
          </a:p>
        </p:txBody>
      </p:sp>
    </p:spTree>
    <p:extLst>
      <p:ext uri="{BB962C8B-B14F-4D97-AF65-F5344CB8AC3E}">
        <p14:creationId xmlns:p14="http://schemas.microsoft.com/office/powerpoint/2010/main" val="341963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685799" y="514562"/>
            <a:ext cx="80836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RMUTP-Profile: Story and </a:t>
            </a:r>
            <a:r>
              <a:rPr lang="en-US" sz="40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Performance</a:t>
            </a:r>
            <a:endParaRPr lang="th-TH" sz="4000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43521" y="1733180"/>
            <a:ext cx="11793998" cy="3888101"/>
            <a:chOff x="43521" y="1733180"/>
            <a:chExt cx="11793998" cy="3888101"/>
          </a:xfrm>
        </p:grpSpPr>
        <p:graphicFrame>
          <p:nvGraphicFramePr>
            <p:cNvPr id="3" name="Diagram 2"/>
            <p:cNvGraphicFramePr/>
            <p:nvPr>
              <p:extLst>
                <p:ext uri="{D42A27DB-BD31-4B8C-83A1-F6EECF244321}">
                  <p14:modId xmlns:p14="http://schemas.microsoft.com/office/powerpoint/2010/main" val="949511806"/>
                </p:ext>
              </p:extLst>
            </p:nvPr>
          </p:nvGraphicFramePr>
          <p:xfrm>
            <a:off x="681839" y="1978608"/>
            <a:ext cx="11155680" cy="260604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33" name="Group 32"/>
            <p:cNvGrpSpPr/>
            <p:nvPr/>
          </p:nvGrpSpPr>
          <p:grpSpPr>
            <a:xfrm>
              <a:off x="378072" y="2058942"/>
              <a:ext cx="2478779" cy="951737"/>
              <a:chOff x="383878" y="2334331"/>
              <a:chExt cx="2478779" cy="951737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383878" y="2334331"/>
                <a:ext cx="2451901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สิ่งทอและออกแบบ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แฟชั่น</a:t>
                </a:r>
                <a:r>
                  <a:rPr lang="en-US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 </a:t>
                </a:r>
              </a:p>
              <a:p>
                <a:pPr algn="r"/>
                <a:r>
                  <a:rPr lang="en-US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(</a:t>
                </a:r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ชุมพรเขตอุดม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ศักดิ์</a:t>
                </a:r>
                <a:r>
                  <a:rPr lang="en-US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)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  <a:endParaRPr lang="th-TH" dirty="0">
                  <a:solidFill>
                    <a:srgbClr val="0066CC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ช่างตัดเสื้อวัดสุทัศน์</a:t>
                </a: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775171" y="2463358"/>
                <a:ext cx="87486" cy="822710"/>
              </a:xfrm>
              <a:prstGeom prst="rect">
                <a:avLst/>
              </a:prstGeom>
              <a:solidFill>
                <a:srgbClr val="0066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43521" y="3553120"/>
              <a:ext cx="1725599" cy="1234854"/>
              <a:chOff x="46424" y="3833085"/>
              <a:chExt cx="1725599" cy="1234854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46424" y="3867610"/>
                <a:ext cx="1691641" cy="1200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ณิชย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การพระนคร</a:t>
                </a:r>
                <a:r>
                  <a:rPr lang="en-US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: 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ประถมศึกษา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ิเศษภาษาอังกฤษ</a:t>
                </a:r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วัดสัมพันธวงศ์</a:t>
                </a:r>
                <a:endParaRPr lang="th-TH" dirty="0">
                  <a:solidFill>
                    <a:srgbClr val="3399FF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688896" y="3833085"/>
                <a:ext cx="83127" cy="1118665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890954" y="3552505"/>
              <a:ext cx="2236822" cy="960143"/>
              <a:chOff x="3111474" y="3860777"/>
              <a:chExt cx="2236822" cy="96014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5265169" y="3860777"/>
                <a:ext cx="83127" cy="830099"/>
              </a:xfrm>
              <a:prstGeom prst="rect">
                <a:avLst/>
              </a:prstGeom>
              <a:solidFill>
                <a:srgbClr val="99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3111474" y="3897590"/>
                <a:ext cx="2236510" cy="9233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วิศวกรนัก</a:t>
                </a:r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ปฏิบัติ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พระนครเหนือ</a:t>
                </a:r>
                <a:r>
                  <a:rPr lang="en-US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ช่างกลพระนครเหนือ</a:t>
                </a: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2815185" y="2202555"/>
              <a:ext cx="2226892" cy="807720"/>
              <a:chOff x="1930775" y="2450867"/>
              <a:chExt cx="2226892" cy="807720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4068216" y="2450867"/>
                <a:ext cx="83127" cy="807720"/>
              </a:xfrm>
              <a:prstGeom prst="rect">
                <a:avLst/>
              </a:prstGeom>
              <a:solidFill>
                <a:srgbClr val="FF0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930775" y="2575090"/>
                <a:ext cx="2226892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ครูช่างเทเวศร์</a:t>
                </a:r>
                <a:r>
                  <a:rPr lang="en-US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ฝึกหัดครูอาชีวศึกษา</a:t>
                </a: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5230749" y="2200650"/>
              <a:ext cx="1974989" cy="807720"/>
              <a:chOff x="4586179" y="2448962"/>
              <a:chExt cx="1974989" cy="807720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6478041" y="2448962"/>
                <a:ext cx="83127" cy="807720"/>
              </a:xfrm>
              <a:prstGeom prst="rect">
                <a:avLst/>
              </a:prstGeom>
              <a:solidFill>
                <a:srgbClr val="FF0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586179" y="2543532"/>
                <a:ext cx="189186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FF0000"/>
                    </a:solidFill>
                    <a:latin typeface="DB Chidlom X" pitchFamily="2" charset="-34"/>
                    <a:cs typeface="DB Chidlom X" pitchFamily="2" charset="-34"/>
                  </a:rPr>
                  <a:t>ครูช่างเทเวศร์:</a:t>
                </a:r>
              </a:p>
              <a:p>
                <a:pPr algn="r"/>
                <a:r>
                  <a:rPr lang="th-TH" dirty="0">
                    <a:solidFill>
                      <a:srgbClr val="FF0000"/>
                    </a:solidFill>
                    <a:latin typeface="DB Chidlom X" pitchFamily="2" charset="-34"/>
                    <a:cs typeface="DB Chidlom X" pitchFamily="2" charset="-34"/>
                  </a:rPr>
                  <a:t>วิทยาลัยครูอาชีวศึกษา</a:t>
                </a: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6535788" y="3554793"/>
              <a:ext cx="1770226" cy="1496863"/>
              <a:chOff x="6355908" y="3878055"/>
              <a:chExt cx="1770226" cy="1496863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8043007" y="3878055"/>
                <a:ext cx="83127" cy="1351418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6355908" y="3897590"/>
                <a:ext cx="1710725" cy="147732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latin typeface="DB Chidlom X" pitchFamily="2" charset="-34"/>
                    <a:cs typeface="DB Chidlom X" pitchFamily="2" charset="-34"/>
                  </a:rPr>
                  <a:t>วิทยาลัยเทคโนโลยี</a:t>
                </a:r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และ</a:t>
                </a:r>
              </a:p>
              <a:p>
                <a:pPr algn="r"/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อาชีวศึกษา</a:t>
                </a:r>
                <a:r>
                  <a:rPr lang="en-US" dirty="0" smtClean="0"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ณิชย</a:t>
                </a:r>
                <a:r>
                  <a:rPr lang="th-TH" dirty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การพระ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นคร</a:t>
                </a:r>
              </a:p>
              <a:p>
                <a:pPr algn="r"/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ครู</a:t>
                </a:r>
                <a:r>
                  <a:rPr lang="th-TH" dirty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ช่าง</a:t>
                </a:r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เทเวศร์</a:t>
                </a:r>
              </a:p>
              <a:p>
                <a:pPr algn="r"/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ชุมพรเขตอุดม</a:t>
                </a:r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ศักดิ์</a:t>
                </a:r>
                <a:endParaRPr lang="en-US" dirty="0" smtClean="0">
                  <a:solidFill>
                    <a:srgbClr val="0066CC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7660701" y="1733180"/>
              <a:ext cx="1727624" cy="1278634"/>
              <a:chOff x="7495811" y="2116402"/>
              <a:chExt cx="1727624" cy="1278634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9144605" y="2260307"/>
                <a:ext cx="78830" cy="1134729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7495811" y="2116402"/>
                <a:ext cx="1710725" cy="120032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latin typeface="DB Chidlom X" pitchFamily="2" charset="-34"/>
                    <a:cs typeface="DB Chidlom X" pitchFamily="2" charset="-34"/>
                  </a:rPr>
                  <a:t>วิทยาลัยเทคโนโลยี</a:t>
                </a:r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และ</a:t>
                </a:r>
              </a:p>
              <a:p>
                <a:pPr algn="r"/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อาชีวศึกษา</a:t>
                </a:r>
                <a:r>
                  <a:rPr lang="en-US" dirty="0" smtClean="0"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วิศวกรนัก</a:t>
                </a:r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ปฏิบัติ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พระ</a:t>
                </a:r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นครเหนือ</a:t>
                </a:r>
                <a:endParaRPr lang="en-US" dirty="0" smtClean="0">
                  <a:solidFill>
                    <a:srgbClr val="FF0066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8327549" y="3551510"/>
              <a:ext cx="2151990" cy="2069771"/>
              <a:chOff x="8162659" y="3829802"/>
              <a:chExt cx="2151990" cy="2069771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10231522" y="3829802"/>
                <a:ext cx="83127" cy="1926475"/>
              </a:xfrm>
              <a:prstGeom prst="rect">
                <a:avLst/>
              </a:prstGeom>
              <a:solidFill>
                <a:srgbClr val="000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8162659" y="3868248"/>
                <a:ext cx="2132314" cy="20313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0000FF"/>
                    </a:solidFill>
                    <a:latin typeface="DB Chidlom X" pitchFamily="2" charset="-34"/>
                    <a:cs typeface="DB Chidlom X" pitchFamily="2" charset="-34"/>
                  </a:rPr>
                  <a:t>สถาบันเทคโนโลยีราช</a:t>
                </a:r>
                <a:r>
                  <a:rPr lang="th-TH" dirty="0" smtClean="0">
                    <a:solidFill>
                      <a:srgbClr val="0000FF"/>
                    </a:solidFill>
                    <a:latin typeface="DB Chidlom X" pitchFamily="2" charset="-34"/>
                    <a:cs typeface="DB Chidlom X" pitchFamily="2" charset="-34"/>
                  </a:rPr>
                  <a:t>มงคล</a:t>
                </a:r>
                <a:r>
                  <a:rPr lang="en-US" dirty="0" smtClean="0">
                    <a:solidFill>
                      <a:srgbClr val="0000FF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ณิชย</a:t>
                </a:r>
                <a:r>
                  <a:rPr lang="th-TH" dirty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การพระนคร</a:t>
                </a:r>
              </a:p>
              <a:p>
                <a:pPr algn="r"/>
                <a:r>
                  <a:rPr lang="th-TH" dirty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ครูช่างเทเวศร์</a:t>
                </a:r>
                <a:endParaRPr lang="en-US" dirty="0">
                  <a:solidFill>
                    <a:srgbClr val="FF0066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วิศวกรนัก</a:t>
                </a:r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ปฏิบัติ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พระ</a:t>
                </a:r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นครเหนือ</a:t>
                </a:r>
                <a:endParaRPr lang="en-US" dirty="0">
                  <a:solidFill>
                    <a:srgbClr val="FF0066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 err="1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คหกรรม</a:t>
                </a:r>
                <a:r>
                  <a:rPr lang="th-TH" dirty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 โชติ</a:t>
                </a:r>
                <a:r>
                  <a:rPr lang="th-TH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เวช</a:t>
                </a:r>
              </a:p>
              <a:p>
                <a:pPr algn="r"/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ชุมพรเขตอุดม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ศักดิ์</a:t>
                </a:r>
                <a:endParaRPr lang="en-US" dirty="0">
                  <a:solidFill>
                    <a:srgbClr val="0066CC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9710105" y="1987909"/>
              <a:ext cx="1856115" cy="1020531"/>
              <a:chOff x="9545215" y="2266201"/>
              <a:chExt cx="1856115" cy="1020531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9545215" y="2266201"/>
                <a:ext cx="1781321" cy="9233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มหาวิทยาลัย</a:t>
                </a:r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เทคโนโลยี</a:t>
                </a:r>
              </a:p>
              <a:p>
                <a:pPr algn="r"/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ราช</a:t>
                </a:r>
                <a:r>
                  <a:rPr lang="th-TH" dirty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มงคลพระ</a:t>
                </a:r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นคร</a:t>
                </a:r>
                <a:r>
                  <a:rPr lang="en-US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  <a:endParaRPr lang="th-TH" dirty="0" smtClean="0">
                  <a:solidFill>
                    <a:srgbClr val="9900CC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9 คณะ</a:t>
                </a:r>
                <a:endParaRPr lang="th-TH" dirty="0">
                  <a:solidFill>
                    <a:srgbClr val="9900CC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1322500" y="2374497"/>
                <a:ext cx="78830" cy="912235"/>
              </a:xfrm>
              <a:prstGeom prst="rect">
                <a:avLst/>
              </a:prstGeom>
              <a:solidFill>
                <a:srgbClr val="CC99FF"/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2491296" y="3553905"/>
              <a:ext cx="1456052" cy="934289"/>
              <a:chOff x="2488393" y="3816895"/>
              <a:chExt cx="1456052" cy="934289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3861318" y="3816895"/>
                <a:ext cx="83127" cy="807720"/>
              </a:xfrm>
              <a:prstGeom prst="rect">
                <a:avLst/>
              </a:prstGeom>
              <a:solidFill>
                <a:srgbClr val="FF33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2488393" y="3827854"/>
                <a:ext cx="1432559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 err="1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คหกรรม</a:t>
                </a:r>
                <a:r>
                  <a:rPr lang="th-TH" dirty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 โชติ</a:t>
                </a:r>
                <a:r>
                  <a:rPr lang="th-TH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เวช</a:t>
                </a:r>
                <a:r>
                  <a:rPr lang="en-US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ช่างทอวัดโบสถ์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462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Them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95CC4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miter lim="0"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584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3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Light" charset="0"/>
            <a:ea typeface="Helvetica Light" charset="0"/>
            <a:cs typeface="Helvetica Light" charset="0"/>
            <a:sym typeface="Helvetica Light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95CC4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miter lim="0"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584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3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Light" charset="0"/>
            <a:ea typeface="Helvetica Light" charset="0"/>
            <a:cs typeface="Helvetica Light" charset="0"/>
            <a:sym typeface="Helvetica Light" charset="0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6</TotalTime>
  <Words>2570</Words>
  <Application>Microsoft Office PowerPoint</Application>
  <PresentationFormat>Widescreen</PresentationFormat>
  <Paragraphs>516</Paragraphs>
  <Slides>4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63" baseType="lpstr">
      <vt:lpstr>맑은 고딕</vt:lpstr>
      <vt:lpstr>MS PGothic</vt:lpstr>
      <vt:lpstr>Aharoni</vt:lpstr>
      <vt:lpstr>AngsanaUPC</vt:lpstr>
      <vt:lpstr>Arial</vt:lpstr>
      <vt:lpstr>Arial Rounded MT Bold</vt:lpstr>
      <vt:lpstr>ArialMT</vt:lpstr>
      <vt:lpstr>Calibri</vt:lpstr>
      <vt:lpstr>Calibri Light</vt:lpstr>
      <vt:lpstr>Cordia New</vt:lpstr>
      <vt:lpstr>DB Chidlom X</vt:lpstr>
      <vt:lpstr>DB Chidlom X Bold</vt:lpstr>
      <vt:lpstr>DB Chidlom X Medium</vt:lpstr>
      <vt:lpstr>Helvetica Light</vt:lpstr>
      <vt:lpstr>TH SarabunPSK</vt:lpstr>
      <vt:lpstr>Office Theme</vt:lpstr>
      <vt:lpstr>1_Office Theme</vt:lpstr>
      <vt:lpstr>3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MUTP ในศตวรรษที่ 21</vt:lpstr>
      <vt:lpstr>PowerPoint Presentation</vt:lpstr>
      <vt:lpstr>แผนปฏิบัติการ “ผลิตบัณฑิตคุณภาพ มทร.พระนคร”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User</cp:lastModifiedBy>
  <cp:revision>297</cp:revision>
  <dcterms:created xsi:type="dcterms:W3CDTF">2015-11-05T21:27:28Z</dcterms:created>
  <dcterms:modified xsi:type="dcterms:W3CDTF">2015-11-30T08:15:53Z</dcterms:modified>
</cp:coreProperties>
</file>